
<file path=[Content_Types].xml><?xml version="1.0" encoding="utf-8"?>
<Types xmlns="http://schemas.openxmlformats.org/package/2006/content-types"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ink/ink1.xml" ContentType="application/inkml+xml"/>
  <Override PartName="/ppt/ink/ink2.xml" ContentType="application/inkml+xml"/>
  <Override PartName="/ppt/ink/ink3.xml" ContentType="application/inkml+xml"/>
  <Override PartName="/ppt/ink/ink4.xml" ContentType="application/inkml+xml"/>
  <Override PartName="/ppt/ink/ink5.xml" ContentType="application/inkml+xml"/>
  <Override PartName="/ppt/ink/ink6.xml" ContentType="application/inkml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42"/>
  </p:notesMasterIdLst>
  <p:sldIdLst>
    <p:sldId id="256" r:id="rId6"/>
    <p:sldId id="272" r:id="rId7"/>
    <p:sldId id="307" r:id="rId8"/>
    <p:sldId id="288" r:id="rId9"/>
    <p:sldId id="319" r:id="rId10"/>
    <p:sldId id="317" r:id="rId11"/>
    <p:sldId id="318" r:id="rId12"/>
    <p:sldId id="323" r:id="rId13"/>
    <p:sldId id="273" r:id="rId14"/>
    <p:sldId id="298" r:id="rId15"/>
    <p:sldId id="292" r:id="rId16"/>
    <p:sldId id="293" r:id="rId17"/>
    <p:sldId id="294" r:id="rId18"/>
    <p:sldId id="313" r:id="rId19"/>
    <p:sldId id="274" r:id="rId20"/>
    <p:sldId id="300" r:id="rId21"/>
    <p:sldId id="285" r:id="rId22"/>
    <p:sldId id="315" r:id="rId23"/>
    <p:sldId id="316" r:id="rId24"/>
    <p:sldId id="312" r:id="rId25"/>
    <p:sldId id="308" r:id="rId26"/>
    <p:sldId id="320" r:id="rId27"/>
    <p:sldId id="321" r:id="rId28"/>
    <p:sldId id="322" r:id="rId29"/>
    <p:sldId id="284" r:id="rId30"/>
    <p:sldId id="289" r:id="rId31"/>
    <p:sldId id="290" r:id="rId32"/>
    <p:sldId id="310" r:id="rId33"/>
    <p:sldId id="275" r:id="rId34"/>
    <p:sldId id="302" r:id="rId35"/>
    <p:sldId id="282" r:id="rId36"/>
    <p:sldId id="281" r:id="rId37"/>
    <p:sldId id="279" r:id="rId38"/>
    <p:sldId id="270" r:id="rId39"/>
    <p:sldId id="277" r:id="rId40"/>
    <p:sldId id="258" r:id="rId41"/>
  </p:sldIdLst>
  <p:sldSz cx="12192000" cy="6858000"/>
  <p:notesSz cx="6858000" cy="9144000"/>
  <p:custDataLst>
    <p:tags r:id="rId4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E6B3AE9-1A43-4724-44A9-9A1284CC12E3}" name="Seray Elsikar | Folienwerke GmbH" initials="SE|FG" userId="Seray Elsikar | Folienwerke GmbH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ovana Markovic | FolienWerke GmbH" initials="JM|FG" lastIdx="1" clrIdx="0">
    <p:extLst>
      <p:ext uri="{19B8F6BF-5375-455C-9EA6-DF929625EA0E}">
        <p15:presenceInfo xmlns:p15="http://schemas.microsoft.com/office/powerpoint/2012/main" userId="Jovana Markovic | FolienWerke GmbH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883" autoAdjust="0"/>
    <p:restoredTop sz="94660"/>
  </p:normalViewPr>
  <p:slideViewPr>
    <p:cSldViewPr snapToGrid="0" showGuides="1">
      <p:cViewPr varScale="1">
        <p:scale>
          <a:sx n="111" d="100"/>
          <a:sy n="111" d="100"/>
        </p:scale>
        <p:origin x="540" y="96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notesMaster" Target="notesMasters/notesMaster1.xml"/><Relationship Id="rId47" Type="http://schemas.openxmlformats.org/officeDocument/2006/relationships/theme" Target="theme/theme1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tags" Target="tags/tag1.xml"/><Relationship Id="rId48" Type="http://schemas.openxmlformats.org/officeDocument/2006/relationships/tableStyles" Target="tableStyles.xml"/><Relationship Id="rId8" Type="http://schemas.openxmlformats.org/officeDocument/2006/relationships/slide" Target="slides/slide3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viewProps" Target="viewProps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/Relationships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5-06T11:25:03.369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1360,'2'-5,"0"0,0 0,1 1,-1 0,1 0,0 0,1 0,-1 0,0 0,1 1,0 0,0 0,0 0,0 0,1 0,-1 1,2 0,-2 0,0 0,6-1,8-6,150-82,-102 44,3-6,-4-18,-6 18,39-12,-27 8,-4-5,21-13,-73 62,0 1,1 0,0 1,1 1,0 1,1 0,0 2,1 0,5-1,-1-1,-11 3,-1-2,0 0,0 1,-1-2,0 0,-1-1,-1 1,1-1,-1-1,0 1,-1-1,0-2,75-162,-72 163,0-1,0 0,-1 0,-1-2,0 1,-1-1,0 1,-1-2,-1 1,-2-1,1 1,-1-1,-1-1,1-3,-4 17,1 0,0 0,0 0,1 0,-1 0,0 0,1-1,0 1,0 1,0-1,1 0,-2 0,2 0,0 0,-1 1,1-1,0 1,0-1,1 1,-1 0,0 0,0 0,1-1,0 2,-1 0,1-2,0 2,0 0,0 0,0-1,0 2,1-1,-2 2,0 1,1-1,-1 1,-1-1,2 1,-2 0,1 0,0 0,-1-1,1 2,-1-1,0 0,0 1,0-1,0 0,0 0,0 1,-1-1,1 1,0-1,-1 1,0-1,0 1,0-1,0 1,0-1,-1 1,0-1,0 1,0 1,1 2,-14 127,-2-3,-87 53,68-43,25-129,0 1,0-1,-1 0,0-1,-1 0,0-2,-1 2,1-2,-2-1,-12 6,22-11,-150 71,79-4,14 14,9-28,-84 10,59-4,68-53,-1-3,1 2,-1-2,0 0,-1 0,1-1,-1 0,-1-2,2 1,-5 1,-98 46,28-6,73-38,0 0,0-2,-1 0,1 0,-2 0,1-2,0 0,0 0,0-1,-1-1,1 0,-1-1,0 0,-16 1,16 0</inkml:trace>
  <inkml:trace contextRef="#ctx0" brushRef="#br0" timeOffset="1">673 964,'-6'0,"1"1,0 1,0-2,0 2,-1 0,2 0,-1 0,0 0,0 1,1 0,0 0,-1 0,1 0,0 0,-2 4,43-15,-6-9,-31 17,-1 0,1 0,-1 0,1 0,0 1,0-1,-1 0,0 0,1 1,-1-1,1 0,0 0,0 0,-1 0,0 0,1 0,-1 0,1 0,0 0,-1 0,1 0,-1 0,1 0,0 0,-1-1,1 1,-1 0,1 0,-1-1,1 1,0 0,0 0,-1 0,1 0,0-1,-1 1,1-1,-1 1,1-1,0 1,0 0,0 0,0-1,0 1,-1-1,1 1,0 0,0-1,0 1,0-1,0 0,0 1,0 0,0 0,0-1,0 0,0 1,0 0,0 0,0-1,1 1,-1-1,0 0,0 1,0 0,0 0,0-1,1 1,-10-1,0-1,0 1,0 1,0 0,-1 0,1 1,0 0,0 0,0 1,1 1,-1-1,0 1,1 1,0-1,-1 2,1-1,0 0,1 1,-6 5,0 35,13-49,0 1,0-1,0 0,1 1,0 0,0-1,-1 1,1-1,1 1,-1 0,1-1,-1 1,1 1,0-1,0 0,0 0,0 0,1 0,0 1,-1-1,1 1,0 0,0 0,0 0,0 0,0 0,0 1,1-1,-1 1,1 0,-1 0,0 1,1-1,0 0,3 0,-6 3,0-1,0 1,1-1,-1 1,0-1,0 0,0 1,0 0,0-1,-1 1,1 0,0 0,0 0,-1-1,0 1,0 0,0 0,0-1,0 1,0 1,0-2,0 1,0 0,0 0,-1-1,0 1,0 0,1 0,-1-1,0 1,0 0,1-1,-2 1,1-1,0 1,-1-1,1 0,0 0,-1 1,1-1,-1 0,1 0,-1 0,1 0,-2-1,2 1,-3 0,-21 23,35-34,4-22,-34 68,19-31,-1 0,1 0,-1 0,-1 0,1 0,-1 0,0 0,0 0,0 0,0-1,-1 0,0 0,0 0,0 0,0-1,-1 1,0-1,1 0,-2 0,1-1,0 1,0-1,0-1,-1 1,0-1,-1 1,-190 73,112-9,41-49,69-17,-13 0,-6 0,0 1,-1-1,1 0,-1-1,1 1,-1-1,1 0,-1 0,0-1,0 0,1 1,-1-1,0-1,0 1,0-1,-1 0,4-3,52-40,-88 51,0 9,18-10,1 0,0 0,0 1,0 0,0 1,1 0,0 0,0 1,1 0,-4 5,11-12,1-1,-1 1,0 0,0-1,1 1,-1 0,1 0,-1 0,1 0,-1 0,0 0,0 0,1 0,-1 0,1 0,-1 0,1 0,-1 0,0 0,0 0,1 0,0 0,-1 0,0 0,0 0,1 0,-1 1,0-1,1 0,-1 1,1-1,-1 0,0 1,0-1,0 0,1 0,-1 0,0 1,1-1,-1 1,0-1,0 0,0 0,1 1,-1-1,0 1,0-1,0 1,0-1,0 0,0 0,0 1,0 0,0-1,0 0,0 0,0 1,0-1,0 1,-1-1,1 1,0-1,0 0,-1 0,34-10,-9-1,59-39,-11-13,-147 108,75-46,0 1,0-1,1 1,-1 0,1 0,-1 0,1-1,-1 1,0 0,0 0,1-1,-1 1,1 0,-1 0,1 0,-1-1,0 1,1 0,-1 0,1 0,-1 0,1 0,-1 0,0 0,1 1,-1-1,1 0,-1 0,1 0,-1 0,0 1,1-1,-1 0,1 1,-1-1,0 0,1 0,-1 0,0 1,0-1,1 0,-1 1,0-1,1 0,-1 0,0 1,0 0,1-1,-1 1,0-1,0 0,0 0,0 1,0 0,0-1,0 0,0 0,0 1,0-1,0 1,88-48,103-73,-191 120,-1-1,0 1,0 0,1 0,0 0,-1-1,0 1,1-1,-1 1,1 0,0-1,-1 1,1-1,-1 0,1 1,-1 0,1-1,0 0,0 1,0-1,-1 1,1-1,0 0,0 1,0-1,0 0,-1 1,1 0,1-1,-1 0,0 0,0 1,0-1,0 0,0 1,1 0,-1-1,0 0,0 0,0 1,1 0,-1-1,1 0,-1 1,1 0,-1-1,0 1,1-1,0 1,-1-1,1 1,-1 0,1 0,0-1,-63 2,-54 27,118-29,-1 1,1-1,-1 0,0 1,1 0,-1 0,1 0,-1 0,1 0,-1 0,1 0,-1 0,0 0,0 0,1 0,-1 0,1 1,-1-1,0 1,0 0,1-1,-1 1,0 0,1-1,-2 1,2 0,-1 0,-1 0,2 0,-1 0,-1 0,1 0,0 0,-1 0,1 1,0-1,0 0,-1 0,0 1,0-1,1 1,-1-2,0 2,0-1,1 1,-1-1,-1 1,1-1,0 1,0-1,-1 0,1 0,0 1,0-1,-1 0,0 0,0 1,1-1,-1 0,0 0,1 0,-1 0,0 0,-1 0,2 1,0-1,0-1,0 1,-1 0,1-1,0 2,-1-1,1-1,0 1,0 0,-1-1,0 1,1 0,-1 0,1-1,-1 0,0 1,1 0,-1-1,1 0,-1 1,0 0,0-1,1 1,-1-1,-1 0,2 0,-1 0,0 1,0-1,1 0,-1 0,0 0,0 0,0 0,0 0,1 0,-2 0,1 0,1-1,-1 1,0 0,0 0,1 0,-1-1,0 1,0-1,1 0,-1 1,0 0,0-1,1 0,29-43,-98 96,69-51,1 0,1 0,-1 0,0-1,0 1,0 0,1 0,-1-1,0 1,0-1,1 1,-1-1,1 0,-1 0,1 1,-1-1,1 0,-1 0,1 0,-1 0,1-1,-2 1,2 0,-1 0,1-1,-1 1,1-1,-2 1,2-1,0 0,129-85,-12 23,-4-8,-152 77,-134 87,171-93,0-1,0 1,0 0,0 0,0 0,0 0,-1 0,1-1,0 1,0 0,-1 0,1 0,0-1,0 1,0 0,0 0,-1 0,1 0,0 0,-1 0,1 0,0 0,-1 0,1 0,0 0,24-19,124-55,-130 60,-1-1,-1-1,-1 0,0-1,-1 0,0-2,3-6,-17 25,-1 0,1 0,-1 0,1 0,0 0,0 0,-1 0,1 0,-1 0,1 0,-1 0,1 0,0 0,0 0,-1 0,1-1,-1 1,1 0,-1 0,1-1,0 1,0 0,0 0,-1 0,1 0,0-1,-1 1,1 0,0-1,0 1,-1-1,1 1,0 0,0 0,0 0,0-1,0 1,0-1,0 1,0 0,0 0,0-1,0 1,0-1,0 1,0-1,0 1,0 0,0 0,0-1,-33 19,11-2,3-4,1 1,1 0,0 2,0 0,2 0,0 2,-4 6,19-22,0-1,0 0,0 0,1 0,-1 0,0 0,1 0,-1 0,0 1,0-1,0 0,0 0,1 0,-1 1,0-1,1 0,-1 0,0 0,0 0,1 0,-1 1,0-1,0 0,0 1,0-1,0 0,0 0,0 0,0 1,0-1,0 0,0 1,0-1,0 0,0 1,0-1,0 0,0 0,0 1,37-27,-22 15,90-72,-94 77,-19 27,5-4,176-140,-25 18,-51 38,-59 25,-6-54,27 11,-40-39,1 1,-21 101,0 17,0 0,1 0,-1 0,1 0,0 0,0 0,1-1,-1 1,2 0,-1 0,0 0,1 0,0 0,2-4,-2 10,-1 0,1-1,-1 1,1 0,-1 0,1 0,-1 0,1 0,-1 0,0 1,0-1,0 0,0 0,0 1,0-1,0 1,0-1,0 1,-1 0,1-1,-1 1,0 0,1-1,-1 1,1 0,-1-1,0 1,0 0,0-1,-1 1,1 0,0-1,-1 1,1 0,0-1,-3 194,3-192,0 0,0 0,-1-1,0 1,0 0,0 0,-1 0,2 0,-2-1,0 1,1-1,-1 0,0 1,0-1,0 0,0 0,0 0,-1 0,0 0,-1 0,3-3,-1 0,1 0,0 0,-1-1,1 1,0 0,0-1,0 1,-1-1,2 0,-1 1,0-1,0 0,1 1,0-1,-1 0,0 0,1 1,0-2,0 2,0-1,0 0,0 0,0 1,0-1,1 0,0-1,-1 1,4-111,1 110,-10 18,-66 96,52-81,16-28,0 1,0 0,1 0,0 0,0 0,0 0,0 0,1 1,-1-1,1 0,0 1,0-1,0 1,0 0,1-1,-1 1,1-1,0 1,0-1,1 2,0 0,33-34,18-25,-52 54,0 1,0-1,0 0,0 0,1 1,-1-1,0 0,0 0,0 1,0-1,1 0,-1 0,0 0,0 0,1 0,-1 0,0 0,0 0,0 0,0 0,0 1,0-1,1 0,-1 0,0 0,0 0,1 0,-1 0,0 0,1 0,-1 0,0 0,0 0,0 0,0 0,0 0,1 0,-1 0,0-1,1 1,-10 23,5-15,-15 16,5-38,14 8,-1 1,2-1,-1 0,1 0,-1 1,2-1,-1 0,1 1,0 0,0-1,1 1,-1-1,1 1,0 0,0 1,1-1,0 0,0 1,0 0,1-1,-6 25,-62 99,18-23,38-70,7-19,-1-1,-1 0,1 1,-1-1,0 0,0 1,-1-2,0 1,0 0,-1-1,1 1,-1-1,0 0,-2 1,7-6,-1-1,0 1,1-1,-1 1,0 0,1 0,-1-1,0 0,0 1,0 0,0 0,0-1,0 0,0 1,0-1,0 1,0 0,0-1,0 1,0-1,0 1,0 0,0-1,0 0,0 1,0-1,0 1,-1 0,1 0,0-1,-1 1,1-1,0 1,-1 0,1 0,0-1,0 1,-1-1,1 1,-1 0,1-1,-1 1,1 0,0 0,-1 0,1 0,-1 0,1 0,-1 0,1 0,0 0,-1 0,0 0,1 0,-1 0,1 0,0 0,-1 0,1 0,-1 0,0 0,1 0,0 0,0 0,-1 1,1-1,-1 0,1 1,-1-1,1 1,9-36,5 7,1 1,2 1,1 1,1 0,2 2,18-19,-5-2,-37 66,-67 73,17 27,20-45,32-78,0 1,-1 0,1-1,0 0,0 1,0-2,0 1,0 1,-1-2,2 2,-1-2,0 1,0 0,1 0,-1 0,0-1,0 1,1 0,0 0,-1-1,1 1,-1-1,1 1,0 0,-1-1,1 1,0-1,1 1,-1-1,0 2,0-2,1 1,-1-1,1 1,-1 0,1-1,-1-10,0 0,1 0,0 0,2 0,0 1,0-2,0 2,1 0,1 0,0-1,1 2,4-8,-3 56,-8 157,25-314,25 22,3-27,-26 12,-25 112,0 0,-1 1,1 0,0-1,0 1,-1-1,1 1,0 0,0-1,-1 1,1 1,0-2,-1 1,1 0,-1-1,0 2,0-1,1-1,-1 2,0-2,1 1,-1 1,0-2,0 2,0-2,0 1,0 1,0-2,-1 1,1 0,0 0,-1 0,1 0,0 0,0 0,-1-1,0 2,1-1,-1 0,-3 10,0 1,-1-1,0 1,0-1,-2-1,1 0,-1 1,-1-2,0 1,0-1,-1 0,-4 3,6-4,1-1,1 1,0 0,-1-1,2 2,0 0,1-1,-1 1,1 0,1 0,-1 0,2 0,-1 1,2-1,0 0,0 8,-16 93,14-103,-1-1,0 0,0 1,-1-2,1 1,-1 0,-1 0,1-1,-1 0,0 0,0 0,-1-1,1 0,-1 0,0 0,0 0,-1-2,1 1,0 0,-1-1,0 1,-7 0,-44 24,-27 28,160-90,-27-36,10-9,-35 38,-61 60,-73 41,9-11,26-10,210-123,-111 71,-34 21,-4 2,0 0,1 1,0 1,-1 0,3 1,-1 0,1 1,0 1,2-1,0 2,-1 1,9-11,2-5,1 0,0 0,-1 0,0 0,1 0,-1 0,1 0,0 0,-1 1,0-1,1 0,-1 1,1-1,-1 0,1 0,-1 0,0 1,1-1,-1 1,1-1,-1 1,0-1,0 0,0 0,1 1,-1 0,0-1,0 0,1 1,-1-1,0 1,0 0,0-1,0 0,1 1,-1-1,0 1,-1-1,1 0,0 1,0 0,0 0,0-1,15-8,-1 0,0-1,0-1,-1 0,0-1,0 0,-1-1,-1 0,-1-1,6-8,-8 13,0 0,1 0,0 1,0 1,0-1,2 1,-2 1,2-1,0 2,10-4,69-41,-89 49,-1 0,1 0,-1 0,0 0,1 0,0 0,-1-1,1 1,-1 0,0-1,1 1,-1 0,1-1,-1 1,1 0,-1 0,0-1,0 1,1-1,-1 1,0 0,1-1,-1 1,0-1,0 0,1 1,-1 0,0-1,0 1,0-1,0 1,0-1,0 1,0-1,0 0,0 1,0 0,0-1,0 1,0-1,-1 1,1 0,0-1,0 0,-1 1,1-1,-1 1,1 0,0 0,0-1,0 0,-1 1,1 0,-1 0,0 0,1-1,0 1,0 0,-1-1,0 1,1 0,-1 0,1-1,0 1,-1 0,-35 3,26 2,0 0,1 0,1 0,-1 1,0 0,1 1,1 0,-1 0,1 0,-3 6,-72 65,-30-17,66-23,85-46,127-73,-85 40,-19-17,-41 45,-23 27,-16 1,0 0,-1-2,0 0,-1-1,-1-1,0 0,0-2,-61 34,39-20,34-20,0 1,0 0,0 0,0 1,1 0,0 1,0-1,1 2,-1-1,2 1,-1 0,0 0,1 1,1 0,-1 0,2 0,-1 0,-1 5,45-36,29-35,-13 2,-12 24,-55 58,-48 26,-27 58,80-100,0 1,-1 0,0-1,-1-1,0 0,-1 1,0-2,0 0,-3 1,15-36,10 9,-4 5,-19 21,-149 82,72-49,-81 33,85-41,-31 29,116-63,-1 1,1 0,0 0,-1-1,0 1,1 0,0 0,-1 0,1 0,-1 0,1 0,-1 0,1 0,0 0,-1 0,0 0,1 0,0 1,-1-1,1 0,-1 0,0 1,1-1,0 0,-1 0,1 0,-1 1,0-1,1 1,-1-1,1 1,-1-1,0 0,1 1,-1-1,0 1,0-1,0 0,0 1,1 0,-1 0,0-1,0 0,0 1,0-1,0 1,0-1,0 1,0-1,0 1,0 0,0-1,0 0,0 1,-1 0,1-1,0 0,0 1,0-1,0 1,-1 0,1-1,-1 0,1 0,52 4,-42-6,-1 0,1-1,0 0,-2 0,2-1,-1-1,0 1,-1-1,0-1,0 1,7-6,42-26,135-37,-185 70,-1 0,0 0,0 0,0-1,0 1,-1-2,0 1,1-1,-1 1,-1-1,0 0,0 0,1-4,16-19,73-43,-143 114,-51 53,100-95,0 1,0 0,0-1,0 1,0 0,1 0,-1-1,0 1,1 0,-1-1,1 1,-1 0,0 0,1-1,-1 1,1-1,0 1,-1-1,0 1,1-1,0 1,0-1,-1 1,1-1,0 0,0 0,-1 1,1-1,0 0,-1 1,1-1,0 0,0 0,-1 0,1 0,0 0,0 0,-1 0,1 0,0-1,0 1,-1 0,1-1,0 1,0 0,-1 0,1 0,0-1,0 0,-1 1,1-1,-1 1,1 0,0-1,-1 0,0 1,1-1,-1 0,1 0,93-47,3-27,-35-23,-12 12,-50 86,-1 0,1 0,-1 0,1 0,-1 0,1 0,0 1,-1-1,1 0,-1 0,0 0,1 0,0 0,-1 0,1 0,-1 0,0 0,1-1,0 1,0 0,-1 0,0 0,1 0,-1 0,1 0,0-1,0 1,-1 0,1-1,-1 1,1-1,-1 1,1 0,0 0,0-1,0 1,0-1,-1 1,1 0,0-1,0 1,-1-1,1 1,0-1,0 1,0 0,0-1,0 0,0 1,0 0,0 0,0-1,0 0,0 1,0-1,1 1,-1 0,0-1,0 1,1-1,-1 1,0 0,-44 20,39-17,-136 86,40-2,94-78,9-10,-2 1,1 0,1 0,-2 0,1 0,0 0,0 0,0 0,0 0,0 0,0 0,0 1,0-1,0 1,0-1,-1 0,1 0,1 1,-2 0,1-1,0 0,0 1,-1 0,1 0,0-1,-1 1,1 0,-1-1,1 1,-1 0,1 0,0-1,-1 2,0-1,0-1,0 1,1 0,-1 0,0 0,0 0,0 0,0 0,0-1,0 2,0-1,0-1,-1 2,1-2,0 1,0 0,0 0,-1 0,1 0,-1-1,0 1,1 0,0 0,-1-1,0 1,0 0,1-1,-1 1,0 0,0 0,1-1,-1 0,0 1,0-1,0 1,-1-1,9 0,1 0,-1 0,0 0,0-2,0 2,-1-2,1 0,1 0,-2 0,0-1,1 0,-1 0,0 0,6-5,-13 8,1 0,-1 0,1 0,0 0,-1 0,1 0,0 0,0 0,0 0,0 0,-1-1,1 1,0 0,-1 0,1-1,0 1,0 0,-1-1,1 1,0 0,0 0,0 0,0-1,0 1,0 0,0-1,0 1,0 0,0 0,0 0,0-1,0 1,0 0,0-1,0 1,0-1,0 1,0 0,0 0,0 0,0-1,0 1,0 0,0-1,0 1,1 0,-31 7,-66 56,156-129,48-38,-18 47,28-30,-119 86,0 0,0 0,0 1,-1 0,1-1,0 1,0-1,-1 1,1 0,0 0,-1 0,1 0,-1 0,2 0,-2 0,1 0,-1 0,1 0,0 1,0 0,0-1,-1 0,1 1,0-1,0 1,0 0,-1-1,2 1,-1 0,-1 0,2 0,-1 0,0 0,0 0,-26 17,2 2,-1 0,3 0,0 3,1 0,1 1,-38 38,-129 56,117-58,-80 31,90-47,91-37,-12-12,1 0,-1-1,1-2,-1 1,-1-1,0-2,0 0,-2 0,2-2,-2 0,-1 0,0-2,6-6,47-57,-7 23,-45 41,-16 13,-13 7,-3 1,-1 2,0 0,1 1,1 1,0 1,0-1,-10 14,26-26,-1 0,1 1,-1-1,0 1,1-1,-1 0,1 0,-1 1,0-1,1 1,0-1,-1 0,1 1,-1 0,1-1,0 1,0-1,-1 1,1-1,-1 1,1-1,0 1,0 0,-1 0,1-1,0 1,0 0,0-1,0 0,0 1,0 0,0 0,0-1,0 1,1 0,-1-1,0 1,1-1,-1 1,0 0,1-1,-1 1,0-1,0 1,1-1,0 0,-1 1,0 0,1-1,-1 1,1-1,0 0,-1 0,1 1,-1-1,1 1,0-1,-1 0,1 0,0 1,0-1,-1 0,1 0,47-6,-36-3,2-1,-2 0,0 0,-1-1,0-1,0 1,-2-1,1-1,-1-1,-1 1,0-1,0-5,93-76,-80 78,-31 31,-149 135,128-92,32-57,-1 1,2 0,-2-1,1 1,0-1,0 0,0 1,0-1,0 0,0 1,0-1,0 0,0 0,0 0,0 0,0 0,0 0,0 0,0 0,0 0,0-1,0 1,0 0,0-1,0 1,0 0,-1-1,1 1,0-1,0 0,0 1,0-1,0 0,-1 1,0-1,1 0,0 0,0 1,-1-1,0 0,1 0,-1 0,1 0,-1 0,1 0,-1 0,78-88,-70 65,-6 15,0 1,1-1,0 0,0 1,2-1,-2 1,2 0,0 1,0-1,1 1,0 0,1 0,-6 7,0 1,0-1,1 0,-1 1,0 0,1-1,-2 1,2 1,-2-2,2 1,-1 0,-1 0,1 0,1 0,-2 1,1-1,0 0,-1 0,1 0,-1 1,1-1,-1 0,1 0,-1 1,0-1,0 0,1 1,-1-1,0 1,-1-1,1 1,0-2,0 2,-1-1,1 1,-1-1,1 0,0 0,-1 1,0-1,0 0,1 2,-1-3,1 0,-1 0,1-1,-1 1,1-1,0 1,-1-1,0 1,1 0,-1 0,1 0,-1 0,1 0,-1-1,1 1,-1 0,0 0,1 0,-1 0,1 0,-1 0,0 0,1 0,-1 0,1 1,-1-1,1 0,-1 0,0 0,1 0,0 0,-1 1,0-1,1 1,-1-1,1 1,0-1,-1 0,1 1,-1-1,1 1,-1-1,1 0,0 1,0 0,0-1,0 1,-1-1,1 1,0-1,0 1,0-1,-1 1,1 0,-1-3,1 2,-2-2,1 2,0-1,0-1,-1 2,1-1,0 0,-1 1,1-1,-1 1,1-1,-1 0,1 1,-1 0,0 0,1 0,-1 0,1 0,-1 0,1 0,-1 0,1 0,-1 0,1 1,-1-1,0 1,1 0,0-1,-1 0,1 2,-1-2,1 1,0 0,0 0,-1 0,2 0,-2 0,1 0,1 0,-2 1,3-1,-1 1,1-2,-1 2,1-1,0 0,0 0,-1 0,1 0,0 0,-1 0,2 0,-1 0,-1 0,2-1,-1 1,0 0,0 0,0-1,1 1,-1-1,0 1,1-1,-1 1,0-1,0 0,1 0,-1 0,1 0,-1 0,0 0,0 0,1 0,-1 0,1 0,-1-1,0 1,1-1,-1 0,78-57,-28 13,25-10,-63 51,0 0,-2 0,1 0,0-1,0 0,-1-2,0 2,0-3,-1 1,0-1,-1 0,6-5,49-42,-64 54,0 0,0 0,-1 0,1 0,0 0,0 0,0 1,-1-1,1-1,-1 2,0-1,1 0,0 1,-1-1,0 0,0 0,1 1,-1-1,0 0,0 1,1 0,-1-1,-1 0,2 1,-1-1,0 1,0 0,0 0,0-1,1 1,-2 0,1 0,1 0,-2 0,1 0,0 0,0 0,0 0,0 0,0 1,0-1,1 0,-2 0,1 0,1 1,-1 0,0-1,0 1,0-1,0 1,1 0,-1-1,0 1,-120 80,79-34,61-68,26-9,-71 38,-63 72,7-36,81-43,1 0,0-1,-1 0,1 1,0 0,0-1,0 1,0 0,0 0,0-1,0 1,0 0,0-1,0 0,0 1,0 0,0 0,0-1,0 1,0 0,0-1,0 1,1 0,-1-1,1 1,-1-1,1 1,-1-1,0 1,1-1,-1 1,1-1,0 1,-1-1,0 1,1-1,0 0,0 0,-1 1,1-1,-1 0,1 0,0 1,-1-1,1 0,0 0,0 0,-1 0,1 0,0 0,0 0,-1 0,1 0,-1 0,1-1,-1 1,2-1,43 1,11-45,-4-2,87 8,-80-47,-48 65,-27 32,-98 108,106-111,1 1,-2-1,1-1,-1 1,1-2,-1 1,-1-1,0 0,0-1,0 0,-2 0,2-2,-1 1,-9 2,9-4,3-1,1 0,-1 0,0 1,0 1,1-1,-1 1,1-1,-1 2,2 0,-2 0,2 0,0 1,-1 0,1 0,0 0,1 0,-1 1,2 0,-2 0,2 1,0 0,-1 1,-2 5,-1-1,0 0,-1 0,0-1,-1 0,-1 0,0-1,0 0,-1-1,0-1,0 1,-8 2,14-6,-134 80,139-85,-21 13,33-4,-9-8,0-1,0 0,0 0,0 0,0 0,1 0,-2 0,1 0,1-1,-2 0,1 1,0-1,0 1,-1-1,2 0,-2 0,1 0,0 0,-1 0,1 0,-1-1,1 1,-1-1,0 1,1-1,-1 1,0 0,0-2,0 2,0 0,-1-2,1 2,0-1,0 0,-1 0,0 0,-2 1,0 1,-1-1,1 1,0-1,-1 1,0 0,1 0,0 0,-1 0,1 1,-1-1,1 1,0-1,-1 1,1 0,0 0,-1-1,1 2,1-1,-2 0,1 0,-2 2,2-1,-165 79,100-69,96-47,17-6,-29 28,-2-1,0 1,-1-2,0 0,-1-1,-1 0,-1-1,3-6,-8 15,0 1,1 0,-1 0,1 0,0 1,1 0,0 0,-1 1,2 0,0 0,-1 2,1-2,0 2,4-1,71-47,13-7,6-8,-6 26,-18 13,-71 22</inkml:trace>
</inkml:ink>
</file>

<file path=ppt/ink/ink2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5-06T11:25:24.811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1 267,'260'0,"-182"-18,-76 17,-1 1,1-1,-1 1,0-1,1-1,-1 1,0 1,0-2,0 1,1-1,-1 1,0 0,0-1,0 0,0 1,0-1,0 0,-1 1,1-1,0-1,0 2,-1-1,1-1,-1 2,0-2,0 1,1 0,-1 0,0 0,0 0,0-1,0 2,0-2,-1 2,1-2,0 1,0 0,-1 0,1-1,-1 2,0-1,1 0,-1 0,0 0,0 0,0 1,0-1,0 1,0 0,0-1,0 1,-1-2,-99-61,7-7,89 67,0 0,0 2,0-2,-1 3,1-2,0 1,-1 1,1 0,-1 0,0 1,1 0,-1 0,1 1,0 0,-4 1,6-1,1 1,0-1,0 1,0 0,0 0,1 0,-1 0,0 0,0 1,1-1,-1 1,1 0,0-1,-1 1,1 0,1 0,-2 0,2 0,-1 1,0-1,0 0,1 0,0 0,-1 1,1-1,0 1,0-1,0 0,0 1,1-1,-1 1,1-2,0 5,-3 39,-18 12,20-44,3-8</inkml:trace>
</inkml:ink>
</file>

<file path=ppt/ink/ink3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5-06T11:25:45.434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0 456,'214'8,"-63"10,-133-18,-6 1,0 0,1-1,0 0,-1-1,1 0,-1-1,0 1,1-2,-2 0,2 0,-2-1,0 0,1 0,-1-1,-1 0,1-1,1-1,99-48,-22 9,6-19,-11 10,-24 18,-55 34,1 0,-1-1,1 2,0-1,0 1,0 0,1 0,-1 0,1 0,-1 1,1 0,-1 1,1-1,0 0,2 1,-7 0,1 0,0-1,-1 0,1 1,-1-1,0 0,1 0,-1 0,0 0,0 0,0-1,1 1,-2-1,1 0,0 1,-1 0,1-1,-1 0,1 0,-1 0,0 0,1 1,-2-2,1 2,0-2,-1 1,1 1,0-2,-1 1,0 0,0 0,0-1,0 2,0-2,-1 1,0 0,1 0,-1 0,0 0,1 0,-2 0,2 0,-2 0,1 0,-1 0,-2 0,0 0,-1 1,2-1,-1 1,-1 0,1 0,0 0,0 0,-1 0,1 1,-1 0,1 0,-1 0,1 0,-1 0,1 1,-3 1,-41-2,-2-27,29 10,17 15,0 0,0 0,-1 0,1 0,-1 1,0-1,1 1,-1 0,0 0,0 0,0 1,0-1,1 1,-2 0,1 0,1 1,-1-1,0 1,0-1,0 1,0 0,1 1,-1-1,0 1,1 0,-3 1,-64 87,-13 3,-42 23,13-74,85-36,-14 6,-85 11,104-22,1 1,-1 1,1 0,0 2,0 0,1 1,0 0,-1 2,-23 1,32-8</inkml:trace>
</inkml:ink>
</file>

<file path=ppt/ink/ink4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5-06T11:26:24.645"/>
    </inkml:context>
    <inkml:brush xml:id="br0">
      <inkml:brushProperty name="width" value="0.10583" units="cm"/>
      <inkml:brushProperty name="height" value="0.10583" units="cm"/>
      <inkml:brushProperty name="color" value="#00B050"/>
      <inkml:brushProperty name="ignorePressure" value="1"/>
    </inkml:brush>
  </inkml:definitions>
  <inkml:trace contextRef="#ctx0" brushRef="#br0">1 185,'11'1,"0"-1,0 0,1-1,-1 1,0-1,0 0,-1-1,1 1,0-2,-1 1,0 0,6-3,-1 2,-1-1,1 1,0 0,1 1,-1-1,1 2,0-1,0 2,0-1,0 1,0 0,9 1,-1-1,-8 0,0-2,-1 1,1-1,0 0,-1 0,0-1,0-1,-1 1,8-3,2 0,106-28,28-31,-157 64,-1 0,2 0,-1 0,0 0,0 0,1 0,-1 0,1 0,-1 0,1 0,-1 1,2-1,-2 0,1 1,0-1,0 1,0-1,1 1,-2-1,1 1,1 0,-1-1,0 1,0 0,0 0,1 0,-1 0,0 0,0 0,0 0,1 1,-2-1,2 0,-1 1,0-1,0 1,0-1,0 1,-1 0,2-1,-2 1,1 0,-1 0,1 0,0-1,-1 1,1 0,-2 0,2 0,-1 0,0 0,0 0,0 1,0-2,0 2,-1-1,0 0,1 0,-1 0,2 4,0-1,0 0,1 0,0 0,0 0,0 0,1-1,1 1,-1-1,0 1,2-1,-1 0,0 0,0 0,6 2,-5-1,-1 1,0-1,0 1,-1-1,0 1,-1 0,0 0,0 0,-1 0,0 0,0 0,-2 0,1 0,-1 0,0 1,-1-1,1 0,-4 5,3 12,2-19,-1 0,0-1,-1 1,1-1,-1 0,0 1,0 0,0-1,-1 0,1 1,-1-1,0 0,-1 0,1 0,0 0,-1 1,0-1,0-1,0 1,0 0,0 0,-1-1,0 1,1-1,-1 1,0-1,-1 0,1 0,0 0,0 0,-1 0,1-1,-1 0,1 1,-1-1,1 1,-1-1,1 0,-3-1,-224-6,110-19,-139 24,88-17,68 10,76 5,17 2</inkml:trace>
</inkml:ink>
</file>

<file path=ppt/ink/ink5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5-06T11:26:45.802"/>
    </inkml:context>
    <inkml:brush xml:id="br0">
      <inkml:brushProperty name="width" value="0.05" units="cm"/>
      <inkml:brushProperty name="height" value="0.05" units="cm"/>
      <inkml:brushProperty name="color" value="#E71224"/>
      <inkml:brushProperty name="ignorePressure" value="1"/>
    </inkml:brush>
  </inkml:definitions>
  <inkml:trace contextRef="#ctx0" brushRef="#br0">2009 2118,'-3'2,"0"-1,1 1,-1 0,1 0,0 0,-1 1,1-1,0 1,0-1,0 0,0 1,1 0,-1 0,1 0,0 0,-1 0,1 0,1 0,-1 0,0 1,-61 92,58-91,1-1,-1 0,1 0,-1 0,0 0,0 0,0-1,0 1,-1-1,0-1,0 1,0 0,0-2,0 2,0-1,-1-1,1 0,0 0,-1 0,1 0,-1-1,1 0,0 0,-1 0,0-1,1 0,0 0,-1 0,1-1,0 1,0-2,-2 0,3-1,1-2,-1 1,1-1,0 0,1 0,0 0,0 0,0-1,0 1,1-1,0 1,0 0,1 0,0-1,1-6,-2-3,1 1,1-1,0 0,1 0,1 1,0-1,2 1,0-1,37-121,-34-6,-10 88,-25-104,-8-26,30 170,0-1,-1 1,0 1,-1-1,-1 0,0 1,-1 1,-4-5,-42-61,-61-37,28 66,-14-72,44 69,-33-10,-6 4,-50-17,90 50,-35-9,89 34,1 0,-1 0,1 0,0-1,0 1,0-1,0 1,-1-1,2 0,-1 0,1 0,-1 0,0 0,1 0,0 0,-1-1,1 1,0-1,0 1,0 0,1-1,-1 1,0-1,1 0,0 1,0-1,-1 1,2-1,-1 1,0-1,0 1,1-1,0 0,-1 1,2-2,47-43,10-13,-50 44,2 2,0-1,1 1,0 1,1 0,1 1,0 0,0 1,16-7,-13 8,0 2,2 1,-1 0,0 2,2-1,-1 2,0 1,5 0,69-23,-68 21,-19 3,0 0,-1 1,1 0,-1 0,1 0,0 1,0 0,0 0,0 1,-1 0,1 0,-1 0,1 0,0 1,-1 0,1 0,2 2,-7-3,0 0,-1 0,1 0,0 0,0-1,0 1,0 0,0-1,1 1,-1 0,-1-1,2 1,-1-1,0 0,0 0,0 1,1-1,-1 0,0 0,1 0,-1 0,0 0,0 0,0-1,1 1,-1 0,0 0,0-1,0 1,1 0,-2-1,1 0,1 1,-1-2,-1 2,2-1,-2 1,1-2,0 2,0-1,0-1,-1 2,1-1,0-1,-1 2,1-1,-1-1,1 1,-4-5,-1 1,1 0,-1-1,0 1,0 1,-1-1,1 1,-1 0,0 0,-1 0,2 1,-6-3,-89-40,-53 1,46 31,90 13,-1 1,1 1,0 0,-1 2,1 0,0 1,-1 0,-11 6,-108 66,72-27,58-43,0 0,0 0,0 1,1 0,0 0,0 0,1 1,0 0,0 0,0 0,1-1,1 2,0-1,-1 1,1 6,-13 35,-9 5,1 41,-20-20,-23 54,-9-43,29-28,-11 43,4-14,-4 45,30-42,25-75,0 0,-2-1,1 1,-2-1,-1 1,0-2,0 1,-4 4,4-1,1 1,0 1,2-1,0 1,0-1,2 1,0 0,2 0,2 14,-1 26,-16 111,15 213,24-311,-9-42,62 89,25 24,-12-72,-5-33,12 13,37-5,-28-2,-14-9,93-21,105-16,-285 1,0 0,0 0,0-2,0 2,0-2,0 1,0-2,-1 1,1 0,-1 0,1-2,-1 1,0 0,0-1,0 1,-1-1,1 0,2-4,-1 3,0 0,1 0,-1 1,1 0,0 0,0 1,0 0,1 0,-1 0,1 2,0-1,0 0,0 1,-1 0,3 1,-2-2,-1 0,1 0,0 0,0-1,-1 0,0 0,0-1,0 0,0-1,0 0,-1 1,0-1,0-1,0 0,-1 0,30-25,41-14,-27 3,17-11,19 20,-18-7,-60 37,0 0,0-1,0 0,-1 0,0-1,1 0,-2 0,1 0,0-2,-2 2,1-1,0-1,-1 1,0-1,0 0,-1 0,0 0,0 0,1-5,50-84,-23 71,-29 23,1 1,0-1,-1 0,1 0,-1 0,0 1,1-2,-2 1,2-1,-1 1,-1 0,1-1,-1 1,1-1,-1 0,1 0,-1 0,-1 1,2-1,-2-3,1 4,-1 1,1-1,-1 0,1 0,-1 0,0 0,0 1,0-1,-1 0,1 0,-1 0,1 0,0 1,-1-1,1 0,-1 0,0 0,0 1,0-1,0 1,0-1,0 1,0-1,0 1,-1 0,1 0,-1-1,1 1,-1 0,1 0,-1 0,0 0,0 0,1 1,-1-1,1 0,-1 1,0 0,0-1,0 1,0 0,0 0,0 0,1 0,-1 0,0 1,0-1,0 0,-145-10,135 10</inkml:trace>
  <inkml:trace contextRef="#ctx0" brushRef="#br0" timeOffset="1">661 637,'-2'0,"1"0,-1 0,0 1,0-1,0 1,1-1,-1 1,0 0,0 0,0 0,1-1,-1 2,1-1,-1 0,1 0,-1 0,1 1,0-1,0 1,0-1,-1 1,2 0,-1-1,0 1,0-1,0 1,1 0,-1 0,1 0,-1 0,1-1,0 1,0 0,0 0,0 1,11 68,-7-66,0 1,0 0,-1 0,0 0,0 0,-1 0,0 1,0 0,-1-1,1 1,-2 0,1-1,-1 1,0 0,0-1,0 2,-1-2,0 1,0 0,-1-1,0 1,0-1,-1 0,0 0,0 1,0-1,-1-1,-1 2,-57 53,-6 41,-1-28,62-57,0 0,2 0,0 1,1-1,0 1,1 0,2 0,-1 0,1 0,2 0,1 10,-2-6,-27 84,20 15,-12 92,27-88,15-28,-20-87,-1 0,0 0,0 0,-1 0,0 0,0 0,-1 1,0-1,-1 0,-1 5,4 68,1-75,0-1,1 1,0-1,0 0,1-1,-1 2,1-3,1 2,-1-1,0 0,1-1,0 0,0 0,1-1,-1 1,1-1,18 13,-7-5,1 0,0-1,1-1,0-1,0-1,1-1,19 4,233 61,-183-54,82-4,-23-7,-92-8,194 2,-249 1,0-1,0 0,-1-1,1 1,-1 0,1 0,0 0,0-1,-1 1,1-1,0 0,-1 1,1-1,-1 0,1 0,-1-1,0 2,1-1,-1-1,0 1,0 0,0 0,0-1,0 1,0-1,0 1,0-1,-1 1,1-1,0 1,-1-1,1 0,-1 0,0 0,0 1,0-1,0 0,0 1,0-1,0 0,0 1,0-1,-1 0,1 0,0-3,0 0,0 0,0 0,0 0,-1 0,0 0,0 0,0 0,-1 0,0 1,1-1,-2 1,1-1,-1 1,1 0,-1-1,0 2,-1-1,1 0,-4-3,-79-64,84 70,2 0,-1 0,0 0,0 0,0 0,-1 0,2 0,-1 1,-1-2,1 2,-1-1,1 1,0 0,0-1,0 0,-1 1,1 0,-1 0,1 0,-1 0,1 0,0 0,-1 0,1 0,0 0,0 0,-1 1,1-1,-1 1,1-1,0 1,0-1,0 1,-1 0,1 0,0-1,-35 45,9-10,8-19,14-11,0 0,0 0,-1 0,0-1,0 0,0 0,-1 0,0-1,1 0,-1-1,0 1,0-1,0-1,0 1,-6 0,8-1,1-1,-1 1,0-1,1 0,-1-1,0 1,0 0,1-2,-1 1,1 0,-1 0,0-1,1 0,0 0,-1 0,1-1,0 1,0-1,0 0,1 0,-1 0,1 0,0-1,-1 0,-2-5,0 0,0 0,1-1,0-1,0 2,1-2,1 0,-1 1,2-1,-1 0,2 0,-1 0,2-2,-25-107,-13-37,-5 11,5-14,-14 13,23 44,25 78,-3 0,0 0,-1 1,-2-1,-10-19,-19-50,-56-41,-1 0,94 132,0-1,0 1,0-1,1 0,-1 1,1-1,0 0,0 0,0 1,0-2,1 2,0-2,0 2,0-1,0-1,1 2,0-2,-1 2,1-2,1 2,-1-1,0 1,1-1,0 0,-1 1,2 0,-1-1,0 1,1 0,-1 0,1 0,0 0,0 0,0 1,0-1,1 2,2-3,-3-1,1 0,-1 0,0 0,0 0,-1 0,1-1,-1 1,0-1,-1 1,0-1,1 0,-1 0,-1 0,0 0,0 0,0 0,0 0,-1 1,-1-5,1 7,0 1,0-1,-1 0,0 0,0 1,1-1,-1 0,0 1,0 0,-1 0,1 0,-1-1,1 1,-1 1,1-1,-1 1,0-1,0 1,0 0,0 0,0 0,0 0,0 1,0-1,0 1,-1 0,-6 9,7-1</inkml:trace>
</inkml:ink>
</file>

<file path=ppt/ink/ink6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</inkml:traceFormat>
        <inkml:channelProperties>
          <inkml:channelProperty channel="X" name="resolution" value="1000" units="1/cm"/>
          <inkml:channelProperty channel="Y" name="resolution" value="1000" units="1/cm"/>
        </inkml:channelProperties>
      </inkml:inkSource>
      <inkml:timestamp xml:id="ts0" timeString="2025-05-06T11:27:09.636"/>
    </inkml:context>
    <inkml:brush xml:id="br0">
      <inkml:brushProperty name="width" value="0.10583" units="cm"/>
      <inkml:brushProperty name="height" value="0.10583" units="cm"/>
      <inkml:brushProperty name="color" value="#66CC00"/>
      <inkml:brushProperty name="ignorePressure" value="1"/>
    </inkml:brush>
  </inkml:definitions>
  <inkml:trace contextRef="#ctx0" brushRef="#br0">30 410,'44'-29,"70"-37,-11 23,-14-14,4 1,58-27,-82 50,-6 6,69 12,30 16,-73 14,52 19,-104-21,40 5,38 18,13 22,13 56,-22-41,-64-26,2 28,-48-50,0 0,2-1,0 1,2-2,1 0,7 9,60 91,-42 13,-31-115,-1-1,-1 1,-2 1,0 0,0 0,-2-1,-1 1,-1 0,-1 0,-3 12,3 37,-5 119,-42-108,24-50,11 26,13-55,0 0,0 0,0 1,0-1,0 0,-1 1,0-2,1 1,-1 1,0-2,0 2,-1-1,1 0,0-1,-1 1,0 0,0-1,0 1,0 0,0-1,0 0,-1 0,0 0,-1 1,-124 89,-23 6,83-47,-74 13,24-50,7 7,-7-6,-66-40,-15 18,91-48,2-3,8 6,-1-6,-30-64,117 111,-1-1,1 1,2-2,-1 0,1 0,1-1,0 0,0-1,-3-9,9 7,1 1,0-1,0 1,2-1,0 0,2 1,1-9,-3 23,1-2,0 1,0 0,0 0,1 0,-1 0,0 1,1-1,0 0,0 0,0 1,0-1,0 1,0 0,1 0,0 0,-1 0,1 0,0 0,-1 1,1-1,0 1,0 0,0-1,1 2,-2-1,2 0,-1 1,0-1,1 1,-2 0,2 0,-1 0,0 1,1-1,-1 0,0 2,0-2,1 1,-2 0,2 1,-2-1,1 0,0 1,0 0,0 0,-1 0,0 0,2 2,79 91,12-43,-34-16,-17-16,68 46,-43-34,19-16,61-2,-121-14,-13 1,0-1,1 0,-1-1,1 0,-1-2,0 0,0-1,0 0,0-1,3-2,123-63,-96 49,34-31,-56 24,-12 17,-1-1,0-1,-1 1,0-2,-1 1,-1-1,0 0,-1-1,0 1,1-8,23-122,-32 130,0-1,0 1,-2 0,0 0,0 0,-1 0,0 1,-2 0,0-1,0 2,-9-10,-57-109,5 67,-36-17,16 31,-23-21,105 66,0 1,0 0,0-1,-1 2,1-1,-1 1,0 0,0 0,0 1,0-1,0 2,-1 0,1-1,-1 2,1-1,-1 1,-3 1,2-1,0 0,0 0,0-1,1 0,-2 0,2-1,-1 0,1-1,-1 0,1-1,-1 0,-5-4,-129-40,131 44,-2 1,1 0,0 1,0 0,-1 2,1-1,0 2,-1-1,-3 2,-29 0,30-2,6-1,-2 1,1 0,-1 1,2-1,-2 2,1 0,0 0,1 2,-1-1,0 1,1 0,-6 4,-89 78,-29 15,122-88,8-8,0 0,0 0,0 0,-1-1,0 1,1-1,-2 0,1-1,-1 1,1-1,-1 0,0 0,0-1,0 0,0 0,-3 0,7-1,0 0,-1 0,0 0,1 0,-1-1,0 0,1 0,-1 1,0-1,1-1,-1 1,0 0,1 0,-1-1,0 0,1 1,-1-1,1 0,-1 0,0 0,1 0,0-1,0 0,0 1,0 0,0-1,0 0,0 0,0 0,0 0,0 0,1-1,0 1,-1-1,1 1,0 0,0-1,0 1,1-1,-1 0,0 1,1-1,0 0,0-1,-13-173,22 69,-6 98</inkml:trace>
  <inkml:trace contextRef="#ctx0" brushRef="#br0" timeOffset="1">356 148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90BC013-B1A6-4919-8359-06172137DEA1}" type="datetimeFigureOut">
              <a:rPr lang="de-CH" smtClean="0"/>
              <a:t>09.05.2025</a:t>
            </a:fld>
            <a:endParaRPr lang="de-CH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e-CH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7972CDD-A28A-455D-9EBF-014B4A602DDF}" type="slidenum">
              <a:rPr lang="de-CH" smtClean="0"/>
              <a:t>‹N°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455847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svg"/><Relationship Id="rId5" Type="http://schemas.openxmlformats.org/officeDocument/2006/relationships/image" Target="../media/image4.png"/><Relationship Id="rId4" Type="http://schemas.openxmlformats.org/officeDocument/2006/relationships/image" Target="../media/image3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2.jpe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1.sv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3BA1EF2D-D385-4B95-800A-597F847A8EF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4991101"/>
          </a:xfrm>
          <a:blipFill dpi="0" rotWithShape="1">
            <a:blip r:embed="rId2"/>
            <a:srcRect/>
            <a:tile tx="0" ty="0" sx="100000" sy="100000" flip="none" algn="tl"/>
          </a:blip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Platzhalter markieren und Bild einfügen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EF62DD67-BCB4-48EC-B9A9-8EFD14A785F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-836292" y="2545047"/>
            <a:ext cx="3233927" cy="3222658"/>
          </a:xfrm>
          <a:prstGeom prst="ellipse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pic>
        <p:nvPicPr>
          <p:cNvPr id="9" name="Graphic 762">
            <a:extLst>
              <a:ext uri="{FF2B5EF4-FFF2-40B4-BE49-F238E27FC236}">
                <a16:creationId xmlns:a16="http://schemas.microsoft.com/office/drawing/2014/main" id="{1CAE0724-987A-4868-A240-E5E9947273F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496425" y="6019341"/>
            <a:ext cx="2287588" cy="541797"/>
          </a:xfrm>
          <a:prstGeom prst="rect">
            <a:avLst/>
          </a:prstGeom>
        </p:spPr>
      </p:pic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DBA5131E-E8AA-4C4E-9667-72356A021CF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190472" y="1471723"/>
            <a:ext cx="4896128" cy="4907530"/>
          </a:xfrm>
          <a:prstGeom prst="ellipse">
            <a:avLst/>
          </a:prstGeom>
          <a:solidFill>
            <a:schemeClr val="accent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457200">
              <a:defRPr kumimoji="0" lang="de-DE" sz="36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kurat"/>
                <a:ea typeface="+mn-ea"/>
                <a:cs typeface="+mn-cs"/>
              </a:defRPr>
            </a:lvl1pPr>
            <a:lvl2pPr marL="457200">
              <a:lnSpc>
                <a:spcPct val="120000"/>
              </a:lnSpc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Hier steht der Titel</a:t>
            </a:r>
          </a:p>
          <a:p>
            <a:pPr lvl="1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0" name="Textplatzhalter 18">
            <a:extLst>
              <a:ext uri="{FF2B5EF4-FFF2-40B4-BE49-F238E27FC236}">
                <a16:creationId xmlns:a16="http://schemas.microsoft.com/office/drawing/2014/main" id="{DCDC52DB-24C2-4249-B20E-F00C8C3D745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65294" y="4560034"/>
            <a:ext cx="1415217" cy="1415217"/>
          </a:xfrm>
          <a:prstGeom prst="ellipse">
            <a:avLst/>
          </a:prstGeom>
          <a:solidFill>
            <a:schemeClr val="accent2"/>
          </a:solid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7DA324C6-C9EF-4771-A22C-53FD435BA8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-249700" y="2775419"/>
            <a:ext cx="2913388" cy="2915208"/>
          </a:xfrm>
          <a:prstGeom prst="ellipse">
            <a:avLst/>
          </a:prstGeom>
          <a:solidFill>
            <a:schemeClr val="bg1"/>
          </a:solidFill>
        </p:spPr>
        <p:txBody>
          <a:bodyPr lIns="252000" anchor="ctr">
            <a:noAutofit/>
          </a:bodyPr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 sz="1600" b="0"/>
            </a:lvl2pPr>
          </a:lstStyle>
          <a:p>
            <a:pPr lvl="0"/>
            <a:r>
              <a:rPr lang="de-DE" dirty="0"/>
              <a:t>Autor Name Position</a:t>
            </a:r>
          </a:p>
          <a:p>
            <a:pPr lvl="1"/>
            <a:r>
              <a:rPr lang="de-DE" dirty="0"/>
              <a:t>Datum / Ort</a:t>
            </a:r>
          </a:p>
        </p:txBody>
      </p:sp>
    </p:spTree>
    <p:extLst>
      <p:ext uri="{BB962C8B-B14F-4D97-AF65-F5344CB8AC3E}">
        <p14:creationId xmlns:p14="http://schemas.microsoft.com/office/powerpoint/2010/main" val="415121912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 mit 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B127705A-3688-4E6E-901D-615A903AD0E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97709" y="-1310536"/>
            <a:ext cx="5784483" cy="5764325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2AE370C-C7CC-496D-8403-DDD7A1D267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8" y="1960682"/>
            <a:ext cx="3290889" cy="1061918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8360D597-4139-4259-9672-F6ECF92AAD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54E13CE6-5912-4A3E-827B-6B244F52F78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F57D9363-123B-499F-B603-F90AEFACA6B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3429000"/>
            <a:ext cx="3290888" cy="31321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Inhaltsplatzhalter 7">
            <a:extLst>
              <a:ext uri="{FF2B5EF4-FFF2-40B4-BE49-F238E27FC236}">
                <a16:creationId xmlns:a16="http://schemas.microsoft.com/office/drawing/2014/main" id="{243D51CA-292C-45B4-B9C1-FE40D648CC3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27674" y="0"/>
            <a:ext cx="5764326" cy="6858000"/>
          </a:xfrm>
          <a:solidFill>
            <a:schemeClr val="accent5"/>
          </a:solidFill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22422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59" userDrawn="1">
          <p15:clr>
            <a:srgbClr val="FBAE40"/>
          </p15:clr>
        </p15:guide>
        <p15:guide id="2" orient="horz" pos="1234" userDrawn="1">
          <p15:clr>
            <a:srgbClr val="FBAE40"/>
          </p15:clr>
        </p15:guide>
        <p15:guide id="3" pos="4048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it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0FA5BD6-96B2-47E5-80B1-DAB23BA2C01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9B47262-C238-4CE2-8775-432E6039AE0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el der Präsentation</a:t>
            </a: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CCB6294-3E21-413E-8937-FA0D396B83B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  <p:pic>
        <p:nvPicPr>
          <p:cNvPr id="5" name="Grafik 4">
            <a:extLst>
              <a:ext uri="{FF2B5EF4-FFF2-40B4-BE49-F238E27FC236}">
                <a16:creationId xmlns:a16="http://schemas.microsoft.com/office/drawing/2014/main" id="{C5A46437-B857-40D6-92D2-6DA3C0B9F17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-1020696" y="1902789"/>
            <a:ext cx="3758862" cy="3745765"/>
          </a:xfrm>
          <a:prstGeom prst="rect">
            <a:avLst/>
          </a:prstGeom>
        </p:spPr>
      </p:pic>
      <p:sp>
        <p:nvSpPr>
          <p:cNvPr id="8" name="Oval 20">
            <a:extLst>
              <a:ext uri="{FF2B5EF4-FFF2-40B4-BE49-F238E27FC236}">
                <a16:creationId xmlns:a16="http://schemas.microsoft.com/office/drawing/2014/main" id="{BFF4CB03-E763-4EAB-9AE0-B49C35CE3E9F}"/>
              </a:ext>
            </a:extLst>
          </p:cNvPr>
          <p:cNvSpPr/>
          <p:nvPr/>
        </p:nvSpPr>
        <p:spPr>
          <a:xfrm>
            <a:off x="8777677" y="1902789"/>
            <a:ext cx="645993" cy="645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1" name="Oval 23">
            <a:extLst>
              <a:ext uri="{FF2B5EF4-FFF2-40B4-BE49-F238E27FC236}">
                <a16:creationId xmlns:a16="http://schemas.microsoft.com/office/drawing/2014/main" id="{2D560C70-C500-441C-9E88-58CD54152F4B}"/>
              </a:ext>
            </a:extLst>
          </p:cNvPr>
          <p:cNvSpPr/>
          <p:nvPr userDrawn="1"/>
        </p:nvSpPr>
        <p:spPr>
          <a:xfrm>
            <a:off x="4959691" y="4237395"/>
            <a:ext cx="645993" cy="645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4" name="Oval 26">
            <a:extLst>
              <a:ext uri="{FF2B5EF4-FFF2-40B4-BE49-F238E27FC236}">
                <a16:creationId xmlns:a16="http://schemas.microsoft.com/office/drawing/2014/main" id="{4993CF29-28E8-4D52-9120-8661ED306F93}"/>
              </a:ext>
            </a:extLst>
          </p:cNvPr>
          <p:cNvSpPr/>
          <p:nvPr/>
        </p:nvSpPr>
        <p:spPr>
          <a:xfrm>
            <a:off x="8777677" y="4237395"/>
            <a:ext cx="645993" cy="645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17" name="Oval 12">
            <a:extLst>
              <a:ext uri="{FF2B5EF4-FFF2-40B4-BE49-F238E27FC236}">
                <a16:creationId xmlns:a16="http://schemas.microsoft.com/office/drawing/2014/main" id="{8109AA51-9C8E-4A33-B4B2-A57166CF132A}"/>
              </a:ext>
            </a:extLst>
          </p:cNvPr>
          <p:cNvSpPr/>
          <p:nvPr userDrawn="1"/>
        </p:nvSpPr>
        <p:spPr>
          <a:xfrm>
            <a:off x="4959691" y="1902789"/>
            <a:ext cx="645993" cy="645993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  <p:sp>
        <p:nvSpPr>
          <p:cNvPr id="20" name="Bildplatzhalter 19">
            <a:extLst>
              <a:ext uri="{FF2B5EF4-FFF2-40B4-BE49-F238E27FC236}">
                <a16:creationId xmlns:a16="http://schemas.microsoft.com/office/drawing/2014/main" id="{84BE216B-F42F-4F8C-982D-2C80F432FA18}"/>
              </a:ext>
            </a:extLst>
          </p:cNvPr>
          <p:cNvSpPr>
            <a:spLocks noGrp="1"/>
          </p:cNvSpPr>
          <p:nvPr userDrawn="1">
            <p:ph type="pic" sz="quarter" idx="12"/>
          </p:nvPr>
        </p:nvSpPr>
        <p:spPr>
          <a:xfrm>
            <a:off x="407988" y="2552700"/>
            <a:ext cx="3634377" cy="4008436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Textplatzhalter 21">
            <a:extLst>
              <a:ext uri="{FF2B5EF4-FFF2-40B4-BE49-F238E27FC236}">
                <a16:creationId xmlns:a16="http://schemas.microsoft.com/office/drawing/2014/main" id="{09EDBCAE-969B-4559-9BF0-75971D062A18}"/>
              </a:ext>
            </a:extLst>
          </p:cNvPr>
          <p:cNvSpPr>
            <a:spLocks noGrp="1"/>
          </p:cNvSpPr>
          <p:nvPr userDrawn="1">
            <p:ph type="body" sz="quarter" idx="13"/>
          </p:nvPr>
        </p:nvSpPr>
        <p:spPr>
          <a:xfrm>
            <a:off x="5282687" y="2202152"/>
            <a:ext cx="2682000" cy="169166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4" name="Textplatzhalter 23">
            <a:extLst>
              <a:ext uri="{FF2B5EF4-FFF2-40B4-BE49-F238E27FC236}">
                <a16:creationId xmlns:a16="http://schemas.microsoft.com/office/drawing/2014/main" id="{A8FEE051-6F63-41DD-B6A6-649D76A20B4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282687" y="4536758"/>
            <a:ext cx="2682000" cy="167386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6" name="Textplatzhalter 25">
            <a:extLst>
              <a:ext uri="{FF2B5EF4-FFF2-40B4-BE49-F238E27FC236}">
                <a16:creationId xmlns:a16="http://schemas.microsoft.com/office/drawing/2014/main" id="{765A026F-0A17-44CA-BDEE-DF9945E040B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00674" y="4536758"/>
            <a:ext cx="2683340" cy="167386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28" name="Textplatzhalter 27">
            <a:extLst>
              <a:ext uri="{FF2B5EF4-FFF2-40B4-BE49-F238E27FC236}">
                <a16:creationId xmlns:a16="http://schemas.microsoft.com/office/drawing/2014/main" id="{82FB9F86-B7DA-4AA1-B84F-DE8B172B0E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100672" y="2202151"/>
            <a:ext cx="2683340" cy="1695161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877334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5731" userDrawn="1">
          <p15:clr>
            <a:srgbClr val="FBAE40"/>
          </p15:clr>
        </p15:guide>
        <p15:guide id="2" pos="3327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3473E33-8EC5-4C18-96AB-9CDB3BF30BF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09588" y="-960698"/>
            <a:ext cx="6926517" cy="6902380"/>
          </a:xfrm>
          <a:prstGeom prst="rect">
            <a:avLst/>
          </a:prstGeom>
        </p:spPr>
      </p:pic>
      <p:sp>
        <p:nvSpPr>
          <p:cNvPr id="6" name="Oval 4">
            <a:extLst>
              <a:ext uri="{FF2B5EF4-FFF2-40B4-BE49-F238E27FC236}">
                <a16:creationId xmlns:a16="http://schemas.microsoft.com/office/drawing/2014/main" id="{E481B2DB-51D1-49F4-AA57-E1818638A38C}"/>
              </a:ext>
            </a:extLst>
          </p:cNvPr>
          <p:cNvSpPr/>
          <p:nvPr userDrawn="1"/>
        </p:nvSpPr>
        <p:spPr>
          <a:xfrm>
            <a:off x="7969793" y="4907960"/>
            <a:ext cx="2291807" cy="2291807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12000" rtlCol="0" anchor="ctr"/>
          <a:lstStyle/>
          <a:p>
            <a:endParaRPr lang="en-US" sz="3600" b="1" dirty="0">
              <a:solidFill>
                <a:schemeClr val="accent1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6787C8D3-E7E1-4A99-BAD0-B9A665A360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644905" y="-393927"/>
            <a:ext cx="7589384" cy="7589384"/>
          </a:xfrm>
          <a:prstGeom prst="ellipse">
            <a:avLst/>
          </a:prstGeom>
          <a:solidFill>
            <a:schemeClr val="accent1"/>
          </a:solidFill>
        </p:spPr>
        <p:txBody>
          <a:bodyPr lIns="360000" anchor="ctr">
            <a:noAutofit/>
          </a:bodyPr>
          <a:lstStyle>
            <a:lvl1pPr>
              <a:defRPr lang="de-DE" sz="3600" b="1" kern="1200" dirty="0" smtClean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2160000">
              <a:spcBef>
                <a:spcPts val="5000"/>
              </a:spcBef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0671958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E7E84CCC-BD84-48D2-A7ED-E4343F7F326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26750" y="5505401"/>
            <a:ext cx="4354924" cy="437015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BD7ED1E-3A82-738A-B7B4-42D617B1110D}"/>
              </a:ext>
            </a:extLst>
          </p:cNvPr>
          <p:cNvSpPr txBox="1"/>
          <p:nvPr userDrawn="1"/>
        </p:nvSpPr>
        <p:spPr>
          <a:xfrm>
            <a:off x="5486401" y="3787675"/>
            <a:ext cx="6297612" cy="255454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de-CH" sz="4000" b="1" cap="all" baseline="0" dirty="0">
                <a:solidFill>
                  <a:schemeClr val="bg2">
                    <a:alpha val="64000"/>
                  </a:schemeClr>
                </a:solidFill>
              </a:rPr>
              <a:t>inspirierend </a:t>
            </a:r>
          </a:p>
          <a:p>
            <a:pPr algn="r"/>
            <a:r>
              <a:rPr lang="de-CH" sz="4000" b="1" cap="all" baseline="0" dirty="0">
                <a:solidFill>
                  <a:schemeClr val="bg2">
                    <a:alpha val="64000"/>
                  </a:schemeClr>
                </a:solidFill>
              </a:rPr>
              <a:t>verantwortungsvoll </a:t>
            </a:r>
          </a:p>
          <a:p>
            <a:pPr algn="r"/>
            <a:r>
              <a:rPr lang="de-CH" sz="4000" b="1" cap="all" baseline="0" dirty="0">
                <a:solidFill>
                  <a:schemeClr val="bg2">
                    <a:alpha val="64000"/>
                  </a:schemeClr>
                </a:solidFill>
              </a:rPr>
              <a:t>professionell </a:t>
            </a:r>
          </a:p>
          <a:p>
            <a:pPr algn="r"/>
            <a:r>
              <a:rPr lang="de-CH" sz="4000" b="1" cap="all" baseline="0" dirty="0">
                <a:solidFill>
                  <a:schemeClr val="bg2">
                    <a:alpha val="64000"/>
                  </a:schemeClr>
                </a:solidFill>
              </a:rPr>
              <a:t>engagiert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955EF66-C572-4B96-9404-03761428B2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9" y="979993"/>
            <a:ext cx="6530693" cy="2510413"/>
          </a:xfrm>
        </p:spPr>
        <p:txBody>
          <a:bodyPr>
            <a:noAutofit/>
          </a:bodyPr>
          <a:lstStyle>
            <a:lvl1pPr>
              <a:defRPr sz="8000"/>
            </a:lvl1pPr>
          </a:lstStyle>
          <a:p>
            <a:r>
              <a:rPr lang="de-DE" dirty="0"/>
              <a:t>Herzlichen Dank!</a:t>
            </a:r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E581BF90-7156-4E5D-8F31-07790E895EB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9" y="3646683"/>
            <a:ext cx="3926018" cy="2909692"/>
          </a:xfrm>
        </p:spPr>
        <p:txBody>
          <a:bodyPr/>
          <a:lstStyle>
            <a:lvl1pPr>
              <a:lnSpc>
                <a:spcPct val="120000"/>
              </a:lnSpc>
              <a:spcBef>
                <a:spcPts val="0"/>
              </a:spcBef>
              <a:defRPr b="1">
                <a:solidFill>
                  <a:schemeClr val="accent1"/>
                </a:solidFill>
              </a:defRPr>
            </a:lvl1pPr>
            <a:lvl2pPr>
              <a:lnSpc>
                <a:spcPct val="120000"/>
              </a:lnSpc>
              <a:spcBef>
                <a:spcPts val="0"/>
              </a:spcBef>
              <a:defRPr b="0"/>
            </a:lvl2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E9F0AE6E-8744-47D9-9D1B-B62F5C57568F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92165" y="-1598978"/>
            <a:ext cx="4632732" cy="4648931"/>
          </a:xfrm>
          <a:prstGeom prst="rect">
            <a:avLst/>
          </a:prstGeom>
        </p:spPr>
      </p:pic>
      <p:sp>
        <p:nvSpPr>
          <p:cNvPr id="8" name="Oval 1">
            <a:extLst>
              <a:ext uri="{FF2B5EF4-FFF2-40B4-BE49-F238E27FC236}">
                <a16:creationId xmlns:a16="http://schemas.microsoft.com/office/drawing/2014/main" id="{8FEF9D8B-ADC8-48EF-A194-0087B457F7B6}"/>
              </a:ext>
            </a:extLst>
          </p:cNvPr>
          <p:cNvSpPr/>
          <p:nvPr userDrawn="1"/>
        </p:nvSpPr>
        <p:spPr>
          <a:xfrm>
            <a:off x="9162370" y="-1487478"/>
            <a:ext cx="4019858" cy="401985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32537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97" userDrawn="1">
          <p15:clr>
            <a:srgbClr val="FBAE40"/>
          </p15:clr>
        </p15:guide>
        <p15:guide id="2" orient="horz" pos="617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verzeichnis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F6E340EE-2B7F-4322-BF3B-635CB7EAB25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839451" y="296863"/>
            <a:ext cx="6375345" cy="6264276"/>
          </a:xfrm>
          <a:prstGeom prst="rect">
            <a:avLst/>
          </a:prstGeom>
        </p:spPr>
      </p:pic>
      <p:sp>
        <p:nvSpPr>
          <p:cNvPr id="6" name="Oval 1">
            <a:extLst>
              <a:ext uri="{FF2B5EF4-FFF2-40B4-BE49-F238E27FC236}">
                <a16:creationId xmlns:a16="http://schemas.microsoft.com/office/drawing/2014/main" id="{28B8DD3D-27EE-4C87-A4CB-7D57E6A6539A}"/>
              </a:ext>
            </a:extLst>
          </p:cNvPr>
          <p:cNvSpPr/>
          <p:nvPr userDrawn="1"/>
        </p:nvSpPr>
        <p:spPr>
          <a:xfrm>
            <a:off x="6093079" y="870204"/>
            <a:ext cx="5690934" cy="5690935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endParaRPr lang="de-CH" dirty="0">
              <a:solidFill>
                <a:schemeClr val="tx2"/>
              </a:solidFill>
            </a:endParaRPr>
          </a:p>
        </p:txBody>
      </p:sp>
      <p:sp>
        <p:nvSpPr>
          <p:cNvPr id="10" name="Textplatzhalter 9">
            <a:extLst>
              <a:ext uri="{FF2B5EF4-FFF2-40B4-BE49-F238E27FC236}">
                <a16:creationId xmlns:a16="http://schemas.microsoft.com/office/drawing/2014/main" id="{702D03D4-B801-4ACA-BB74-93ED9E1F1A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7341936" y="1399866"/>
            <a:ext cx="571044" cy="4631608"/>
          </a:xfrm>
        </p:spPr>
        <p:txBody>
          <a:bodyPr lIns="0" tIns="0" rIns="0" bIns="0" anchor="ctr">
            <a:noAutofit/>
          </a:bodyPr>
          <a:lstStyle>
            <a:lvl1pPr algn="l">
              <a:lnSpc>
                <a:spcPts val="3300"/>
              </a:lnSpc>
              <a:spcBef>
                <a:spcPts val="0"/>
              </a:spcBef>
              <a:spcAft>
                <a:spcPts val="1200"/>
              </a:spcAft>
              <a:defRPr kumimoji="0" lang="de-DE" sz="2400" b="1" i="0" u="none" strike="noStrike" kern="1200" cap="all" spc="0" normalizeH="0" baseline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kkura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01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3481AEF-D596-4680-9C08-5AF16576D5A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20034" y="1399866"/>
            <a:ext cx="2537717" cy="4631608"/>
          </a:xfrm>
        </p:spPr>
        <p:txBody>
          <a:bodyPr lIns="0" tIns="0" rIns="0" bIns="0" anchor="ctr">
            <a:noAutofit/>
          </a:bodyPr>
          <a:lstStyle>
            <a:lvl1pPr>
              <a:lnSpc>
                <a:spcPts val="3300"/>
              </a:lnSpc>
              <a:spcBef>
                <a:spcPts val="0"/>
              </a:spcBef>
              <a:spcAft>
                <a:spcPts val="1200"/>
              </a:spcAft>
              <a:defRPr kumimoji="0" lang="de-DE" sz="2000" i="0" u="none" strike="noStrike" kern="1200" spc="0" normalizeH="0" dirty="0" smtClean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  <a:latin typeface="Akkurat"/>
                <a:ea typeface="+mn-ea"/>
                <a:cs typeface="+mn-cs"/>
              </a:defRPr>
            </a:lvl1pPr>
          </a:lstStyle>
          <a:p>
            <a:pPr lvl="0"/>
            <a:r>
              <a:rPr lang="de-DE" dirty="0"/>
              <a:t>Kapitel</a:t>
            </a:r>
          </a:p>
        </p:txBody>
      </p:sp>
    </p:spTree>
    <p:extLst>
      <p:ext uri="{BB962C8B-B14F-4D97-AF65-F5344CB8AC3E}">
        <p14:creationId xmlns:p14="http://schemas.microsoft.com/office/powerpoint/2010/main" val="60596591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llkommens-Sl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val 6">
            <a:extLst>
              <a:ext uri="{FF2B5EF4-FFF2-40B4-BE49-F238E27FC236}">
                <a16:creationId xmlns:a16="http://schemas.microsoft.com/office/drawing/2014/main" id="{0AB75D71-6E57-408C-90DD-D0F3999ACAB8}"/>
              </a:ext>
            </a:extLst>
          </p:cNvPr>
          <p:cNvSpPr/>
          <p:nvPr userDrawn="1"/>
        </p:nvSpPr>
        <p:spPr>
          <a:xfrm>
            <a:off x="8306776" y="-345440"/>
            <a:ext cx="5528933" cy="5528933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Aft>
                <a:spcPts val="1200"/>
              </a:spcAft>
            </a:pPr>
            <a:endParaRPr lang="de-CH" dirty="0">
              <a:solidFill>
                <a:schemeClr val="tx2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7AC72B7-5D92-436F-892D-46E06FC1645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07988" y="1810663"/>
            <a:ext cx="4727714" cy="1468318"/>
          </a:xfrm>
        </p:spPr>
        <p:txBody>
          <a:bodyPr>
            <a:noAutofit/>
          </a:bodyPr>
          <a:lstStyle>
            <a:lvl1pPr>
              <a:defRPr sz="5400"/>
            </a:lvl1pPr>
          </a:lstStyle>
          <a:p>
            <a:r>
              <a:rPr lang="de-CH" dirty="0"/>
              <a:t>Titel einfügen</a:t>
            </a:r>
          </a:p>
        </p:txBody>
      </p: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59706DBB-5517-461B-92CA-1E800CDAECE0}"/>
              </a:ext>
            </a:extLst>
          </p:cNvPr>
          <p:cNvGrpSpPr/>
          <p:nvPr userDrawn="1"/>
        </p:nvGrpSpPr>
        <p:grpSpPr>
          <a:xfrm>
            <a:off x="4699751" y="2694841"/>
            <a:ext cx="5086109" cy="4587876"/>
            <a:chOff x="4699751" y="2694841"/>
            <a:chExt cx="5086109" cy="4587876"/>
          </a:xfrm>
        </p:grpSpPr>
        <p:pic>
          <p:nvPicPr>
            <p:cNvPr id="7" name="Grafik 6">
              <a:extLst>
                <a:ext uri="{FF2B5EF4-FFF2-40B4-BE49-F238E27FC236}">
                  <a16:creationId xmlns:a16="http://schemas.microsoft.com/office/drawing/2014/main" id="{8D12066B-71E6-442F-BB80-E734284B48D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p:blipFill>
          <p:spPr>
            <a:xfrm>
              <a:off x="4699751" y="2694841"/>
              <a:ext cx="4603919" cy="4587876"/>
            </a:xfrm>
            <a:prstGeom prst="rect">
              <a:avLst/>
            </a:prstGeom>
          </p:spPr>
        </p:pic>
        <p:sp>
          <p:nvSpPr>
            <p:cNvPr id="8" name="Oval 4">
              <a:extLst>
                <a:ext uri="{FF2B5EF4-FFF2-40B4-BE49-F238E27FC236}">
                  <a16:creationId xmlns:a16="http://schemas.microsoft.com/office/drawing/2014/main" id="{C7E4D0CF-394F-4E5E-BA30-D60B5A581484}"/>
                </a:ext>
              </a:extLst>
            </p:cNvPr>
            <p:cNvSpPr/>
            <p:nvPr/>
          </p:nvSpPr>
          <p:spPr>
            <a:xfrm>
              <a:off x="5617892" y="3114749"/>
              <a:ext cx="4167968" cy="4167968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Aft>
                  <a:spcPts val="1200"/>
                </a:spcAft>
              </a:pPr>
              <a:endParaRPr lang="de-CH" dirty="0">
                <a:solidFill>
                  <a:schemeClr val="tx2"/>
                </a:solidFill>
              </a:endParaRPr>
            </a:p>
          </p:txBody>
        </p:sp>
      </p:grp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DF4E6EAE-A23C-438C-9CEF-CD0F229DEAA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07988" y="3949700"/>
            <a:ext cx="3576871" cy="26114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15" name="Bildplatzhalter 14">
            <a:extLst>
              <a:ext uri="{FF2B5EF4-FFF2-40B4-BE49-F238E27FC236}">
                <a16:creationId xmlns:a16="http://schemas.microsoft.com/office/drawing/2014/main" id="{5CC5133E-5043-4D13-8128-BD20E6DC5AC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34126" y="296863"/>
            <a:ext cx="4835634" cy="6561136"/>
          </a:xfrm>
          <a:blipFill dpi="0" rotWithShape="1"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t"/>
          <a:lstStyle>
            <a:lvl1pPr algn="l">
              <a:defRPr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0564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140" userDrawn="1">
          <p15:clr>
            <a:srgbClr val="FBAE40"/>
          </p15:clr>
        </p15:guide>
        <p15:guide id="2" orient="horz" pos="2486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BC6F8FCE-5F47-41E1-A255-B3FBB69DE5B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3" y="0"/>
            <a:ext cx="9066257" cy="6858000"/>
          </a:xfrm>
          <a:custGeom>
            <a:avLst/>
            <a:gdLst>
              <a:gd name="connsiteX0" fmla="*/ 0 w 9366911"/>
              <a:gd name="connsiteY0" fmla="*/ 0 h 6858000"/>
              <a:gd name="connsiteX1" fmla="*/ 4683456 w 9366911"/>
              <a:gd name="connsiteY1" fmla="*/ 0 h 6858000"/>
              <a:gd name="connsiteX2" fmla="*/ 9366912 w 9366911"/>
              <a:gd name="connsiteY2" fmla="*/ 3429000 h 6858000"/>
              <a:gd name="connsiteX3" fmla="*/ 4683456 w 9366911"/>
              <a:gd name="connsiteY3" fmla="*/ 6858000 h 6858000"/>
              <a:gd name="connsiteX4" fmla="*/ 0 w 9366911"/>
              <a:gd name="connsiteY4" fmla="*/ 6858000 h 6858000"/>
              <a:gd name="connsiteX5" fmla="*/ 0 w 9366911"/>
              <a:gd name="connsiteY5" fmla="*/ 0 h 6858000"/>
              <a:gd name="connsiteX0" fmla="*/ 0 w 9901853"/>
              <a:gd name="connsiteY0" fmla="*/ 0 h 6858000"/>
              <a:gd name="connsiteX1" fmla="*/ 8053190 w 9901853"/>
              <a:gd name="connsiteY1" fmla="*/ 0 h 6858000"/>
              <a:gd name="connsiteX2" fmla="*/ 9366912 w 9901853"/>
              <a:gd name="connsiteY2" fmla="*/ 3429000 h 6858000"/>
              <a:gd name="connsiteX3" fmla="*/ 4683456 w 9901853"/>
              <a:gd name="connsiteY3" fmla="*/ 6858000 h 6858000"/>
              <a:gd name="connsiteX4" fmla="*/ 0 w 9901853"/>
              <a:gd name="connsiteY4" fmla="*/ 6858000 h 6858000"/>
              <a:gd name="connsiteX5" fmla="*/ 0 w 9901853"/>
              <a:gd name="connsiteY5" fmla="*/ 0 h 6858000"/>
              <a:gd name="connsiteX0" fmla="*/ 0 w 9957599"/>
              <a:gd name="connsiteY0" fmla="*/ 0 h 6858000"/>
              <a:gd name="connsiteX1" fmla="*/ 8053190 w 9957599"/>
              <a:gd name="connsiteY1" fmla="*/ 0 h 6858000"/>
              <a:gd name="connsiteX2" fmla="*/ 9366912 w 9957599"/>
              <a:gd name="connsiteY2" fmla="*/ 3429000 h 6858000"/>
              <a:gd name="connsiteX3" fmla="*/ 8510389 w 9957599"/>
              <a:gd name="connsiteY3" fmla="*/ 6832600 h 6858000"/>
              <a:gd name="connsiteX4" fmla="*/ 0 w 9957599"/>
              <a:gd name="connsiteY4" fmla="*/ 6858000 h 6858000"/>
              <a:gd name="connsiteX5" fmla="*/ 0 w 9957599"/>
              <a:gd name="connsiteY5" fmla="*/ 0 h 6858000"/>
              <a:gd name="connsiteX0" fmla="*/ 0 w 10359518"/>
              <a:gd name="connsiteY0" fmla="*/ 0 h 6858000"/>
              <a:gd name="connsiteX1" fmla="*/ 8053190 w 10359518"/>
              <a:gd name="connsiteY1" fmla="*/ 0 h 6858000"/>
              <a:gd name="connsiteX2" fmla="*/ 10162778 w 10359518"/>
              <a:gd name="connsiteY2" fmla="*/ 3420534 h 6858000"/>
              <a:gd name="connsiteX3" fmla="*/ 8510389 w 10359518"/>
              <a:gd name="connsiteY3" fmla="*/ 6832600 h 6858000"/>
              <a:gd name="connsiteX4" fmla="*/ 0 w 10359518"/>
              <a:gd name="connsiteY4" fmla="*/ 6858000 h 6858000"/>
              <a:gd name="connsiteX5" fmla="*/ 0 w 10359518"/>
              <a:gd name="connsiteY5" fmla="*/ 0 h 6858000"/>
              <a:gd name="connsiteX0" fmla="*/ 0 w 9340580"/>
              <a:gd name="connsiteY0" fmla="*/ 0 h 6858000"/>
              <a:gd name="connsiteX1" fmla="*/ 8053190 w 9340580"/>
              <a:gd name="connsiteY1" fmla="*/ 0 h 6858000"/>
              <a:gd name="connsiteX2" fmla="*/ 8510389 w 9340580"/>
              <a:gd name="connsiteY2" fmla="*/ 6832600 h 6858000"/>
              <a:gd name="connsiteX3" fmla="*/ 0 w 9340580"/>
              <a:gd name="connsiteY3" fmla="*/ 6858000 h 6858000"/>
              <a:gd name="connsiteX4" fmla="*/ 0 w 9340580"/>
              <a:gd name="connsiteY4" fmla="*/ 0 h 6858000"/>
              <a:gd name="connsiteX0" fmla="*/ 0 w 9333807"/>
              <a:gd name="connsiteY0" fmla="*/ 0 h 6858000"/>
              <a:gd name="connsiteX1" fmla="*/ 8053190 w 9333807"/>
              <a:gd name="connsiteY1" fmla="*/ 0 h 6858000"/>
              <a:gd name="connsiteX2" fmla="*/ 8499277 w 9333807"/>
              <a:gd name="connsiteY2" fmla="*/ 6858000 h 6858000"/>
              <a:gd name="connsiteX3" fmla="*/ 0 w 9333807"/>
              <a:gd name="connsiteY3" fmla="*/ 6858000 h 6858000"/>
              <a:gd name="connsiteX4" fmla="*/ 0 w 9333807"/>
              <a:gd name="connsiteY4" fmla="*/ 0 h 6858000"/>
              <a:gd name="connsiteX0" fmla="*/ 0 w 9348282"/>
              <a:gd name="connsiteY0" fmla="*/ 0 h 6858000"/>
              <a:gd name="connsiteX1" fmla="*/ 8089702 w 9348282"/>
              <a:gd name="connsiteY1" fmla="*/ 0 h 6858000"/>
              <a:gd name="connsiteX2" fmla="*/ 8499277 w 9348282"/>
              <a:gd name="connsiteY2" fmla="*/ 6858000 h 6858000"/>
              <a:gd name="connsiteX3" fmla="*/ 0 w 9348282"/>
              <a:gd name="connsiteY3" fmla="*/ 6858000 h 6858000"/>
              <a:gd name="connsiteX4" fmla="*/ 0 w 9348282"/>
              <a:gd name="connsiteY4" fmla="*/ 0 h 6858000"/>
              <a:gd name="connsiteX0" fmla="*/ 0 w 9370143"/>
              <a:gd name="connsiteY0" fmla="*/ 0 h 6858000"/>
              <a:gd name="connsiteX1" fmla="*/ 8089702 w 9370143"/>
              <a:gd name="connsiteY1" fmla="*/ 0 h 6858000"/>
              <a:gd name="connsiteX2" fmla="*/ 8499277 w 9370143"/>
              <a:gd name="connsiteY2" fmla="*/ 6858000 h 6858000"/>
              <a:gd name="connsiteX3" fmla="*/ 0 w 9370143"/>
              <a:gd name="connsiteY3" fmla="*/ 6858000 h 6858000"/>
              <a:gd name="connsiteX4" fmla="*/ 0 w 9370143"/>
              <a:gd name="connsiteY4" fmla="*/ 0 h 6858000"/>
              <a:gd name="connsiteX0" fmla="*/ 0 w 9317917"/>
              <a:gd name="connsiteY0" fmla="*/ 0 h 6858000"/>
              <a:gd name="connsiteX1" fmla="*/ 8089702 w 9317917"/>
              <a:gd name="connsiteY1" fmla="*/ 0 h 6858000"/>
              <a:gd name="connsiteX2" fmla="*/ 8499277 w 9317917"/>
              <a:gd name="connsiteY2" fmla="*/ 6858000 h 6858000"/>
              <a:gd name="connsiteX3" fmla="*/ 0 w 9317917"/>
              <a:gd name="connsiteY3" fmla="*/ 6858000 h 6858000"/>
              <a:gd name="connsiteX4" fmla="*/ 0 w 9317917"/>
              <a:gd name="connsiteY4" fmla="*/ 0 h 6858000"/>
              <a:gd name="connsiteX0" fmla="*/ 0 w 9377150"/>
              <a:gd name="connsiteY0" fmla="*/ 0 h 6858000"/>
              <a:gd name="connsiteX1" fmla="*/ 8089702 w 9377150"/>
              <a:gd name="connsiteY1" fmla="*/ 0 h 6858000"/>
              <a:gd name="connsiteX2" fmla="*/ 8499277 w 9377150"/>
              <a:gd name="connsiteY2" fmla="*/ 6858000 h 6858000"/>
              <a:gd name="connsiteX3" fmla="*/ 0 w 9377150"/>
              <a:gd name="connsiteY3" fmla="*/ 6858000 h 6858000"/>
              <a:gd name="connsiteX4" fmla="*/ 0 w 9377150"/>
              <a:gd name="connsiteY4" fmla="*/ 0 h 6858000"/>
              <a:gd name="connsiteX0" fmla="*/ 0 w 9318521"/>
              <a:gd name="connsiteY0" fmla="*/ 0 h 6858000"/>
              <a:gd name="connsiteX1" fmla="*/ 8089702 w 9318521"/>
              <a:gd name="connsiteY1" fmla="*/ 0 h 6858000"/>
              <a:gd name="connsiteX2" fmla="*/ 8397677 w 9318521"/>
              <a:gd name="connsiteY2" fmla="*/ 6858000 h 6858000"/>
              <a:gd name="connsiteX3" fmla="*/ 0 w 9318521"/>
              <a:gd name="connsiteY3" fmla="*/ 6858000 h 6858000"/>
              <a:gd name="connsiteX4" fmla="*/ 0 w 9318521"/>
              <a:gd name="connsiteY4" fmla="*/ 0 h 6858000"/>
              <a:gd name="connsiteX0" fmla="*/ 0 w 9162850"/>
              <a:gd name="connsiteY0" fmla="*/ 0 h 6858000"/>
              <a:gd name="connsiteX1" fmla="*/ 8089702 w 9162850"/>
              <a:gd name="connsiteY1" fmla="*/ 0 h 6858000"/>
              <a:gd name="connsiteX2" fmla="*/ 8101344 w 9162850"/>
              <a:gd name="connsiteY2" fmla="*/ 6858000 h 6858000"/>
              <a:gd name="connsiteX3" fmla="*/ 0 w 9162850"/>
              <a:gd name="connsiteY3" fmla="*/ 6858000 h 6858000"/>
              <a:gd name="connsiteX4" fmla="*/ 0 w 9162850"/>
              <a:gd name="connsiteY4" fmla="*/ 0 h 6858000"/>
              <a:gd name="connsiteX0" fmla="*/ 0 w 9307597"/>
              <a:gd name="connsiteY0" fmla="*/ 0 h 6858000"/>
              <a:gd name="connsiteX1" fmla="*/ 8089702 w 9307597"/>
              <a:gd name="connsiteY1" fmla="*/ 0 h 6858000"/>
              <a:gd name="connsiteX2" fmla="*/ 8101344 w 9307597"/>
              <a:gd name="connsiteY2" fmla="*/ 6858000 h 6858000"/>
              <a:gd name="connsiteX3" fmla="*/ 0 w 9307597"/>
              <a:gd name="connsiteY3" fmla="*/ 6858000 h 6858000"/>
              <a:gd name="connsiteX4" fmla="*/ 0 w 9307597"/>
              <a:gd name="connsiteY4" fmla="*/ 0 h 6858000"/>
              <a:gd name="connsiteX0" fmla="*/ 0 w 9394315"/>
              <a:gd name="connsiteY0" fmla="*/ 0 h 6858000"/>
              <a:gd name="connsiteX1" fmla="*/ 8089702 w 9394315"/>
              <a:gd name="connsiteY1" fmla="*/ 0 h 6858000"/>
              <a:gd name="connsiteX2" fmla="*/ 8101344 w 9394315"/>
              <a:gd name="connsiteY2" fmla="*/ 6858000 h 6858000"/>
              <a:gd name="connsiteX3" fmla="*/ 0 w 9394315"/>
              <a:gd name="connsiteY3" fmla="*/ 6858000 h 6858000"/>
              <a:gd name="connsiteX4" fmla="*/ 0 w 9394315"/>
              <a:gd name="connsiteY4" fmla="*/ 0 h 6858000"/>
              <a:gd name="connsiteX0" fmla="*/ 0 w 9365732"/>
              <a:gd name="connsiteY0" fmla="*/ 0 h 6858000"/>
              <a:gd name="connsiteX1" fmla="*/ 8089702 w 9365732"/>
              <a:gd name="connsiteY1" fmla="*/ 0 h 6858000"/>
              <a:gd name="connsiteX2" fmla="*/ 8101344 w 9365732"/>
              <a:gd name="connsiteY2" fmla="*/ 6858000 h 6858000"/>
              <a:gd name="connsiteX3" fmla="*/ 0 w 9365732"/>
              <a:gd name="connsiteY3" fmla="*/ 6858000 h 6858000"/>
              <a:gd name="connsiteX4" fmla="*/ 0 w 9365732"/>
              <a:gd name="connsiteY4" fmla="*/ 0 h 6858000"/>
              <a:gd name="connsiteX0" fmla="*/ 0 w 9365732"/>
              <a:gd name="connsiteY0" fmla="*/ 0 h 6858000"/>
              <a:gd name="connsiteX1" fmla="*/ 8089702 w 9365732"/>
              <a:gd name="connsiteY1" fmla="*/ 0 h 6858000"/>
              <a:gd name="connsiteX2" fmla="*/ 8101344 w 9365732"/>
              <a:gd name="connsiteY2" fmla="*/ 6858000 h 6858000"/>
              <a:gd name="connsiteX3" fmla="*/ 0 w 9365732"/>
              <a:gd name="connsiteY3" fmla="*/ 6858000 h 6858000"/>
              <a:gd name="connsiteX4" fmla="*/ 0 w 9365732"/>
              <a:gd name="connsiteY4" fmla="*/ 0 h 6858000"/>
              <a:gd name="connsiteX0" fmla="*/ 0 w 9343726"/>
              <a:gd name="connsiteY0" fmla="*/ 0 h 6858000"/>
              <a:gd name="connsiteX1" fmla="*/ 8089702 w 9343726"/>
              <a:gd name="connsiteY1" fmla="*/ 0 h 6858000"/>
              <a:gd name="connsiteX2" fmla="*/ 8101344 w 9343726"/>
              <a:gd name="connsiteY2" fmla="*/ 6858000 h 6858000"/>
              <a:gd name="connsiteX3" fmla="*/ 0 w 9343726"/>
              <a:gd name="connsiteY3" fmla="*/ 6858000 h 6858000"/>
              <a:gd name="connsiteX4" fmla="*/ 0 w 9343726"/>
              <a:gd name="connsiteY4" fmla="*/ 0 h 6858000"/>
              <a:gd name="connsiteX0" fmla="*/ 0 w 9541586"/>
              <a:gd name="connsiteY0" fmla="*/ 0 h 6858000"/>
              <a:gd name="connsiteX1" fmla="*/ 8089702 w 9541586"/>
              <a:gd name="connsiteY1" fmla="*/ 0 h 6858000"/>
              <a:gd name="connsiteX2" fmla="*/ 8473878 w 9541586"/>
              <a:gd name="connsiteY2" fmla="*/ 6858000 h 6858000"/>
              <a:gd name="connsiteX3" fmla="*/ 0 w 9541586"/>
              <a:gd name="connsiteY3" fmla="*/ 6858000 h 6858000"/>
              <a:gd name="connsiteX4" fmla="*/ 0 w 9541586"/>
              <a:gd name="connsiteY4" fmla="*/ 0 h 6858000"/>
              <a:gd name="connsiteX0" fmla="*/ 0 w 9429194"/>
              <a:gd name="connsiteY0" fmla="*/ 0 h 6858000"/>
              <a:gd name="connsiteX1" fmla="*/ 8089702 w 9429194"/>
              <a:gd name="connsiteY1" fmla="*/ 0 h 6858000"/>
              <a:gd name="connsiteX2" fmla="*/ 8473878 w 9429194"/>
              <a:gd name="connsiteY2" fmla="*/ 6858000 h 6858000"/>
              <a:gd name="connsiteX3" fmla="*/ 0 w 9429194"/>
              <a:gd name="connsiteY3" fmla="*/ 6858000 h 6858000"/>
              <a:gd name="connsiteX4" fmla="*/ 0 w 9429194"/>
              <a:gd name="connsiteY4" fmla="*/ 0 h 6858000"/>
              <a:gd name="connsiteX0" fmla="*/ 0 w 9375946"/>
              <a:gd name="connsiteY0" fmla="*/ 0 h 6858000"/>
              <a:gd name="connsiteX1" fmla="*/ 8089702 w 9375946"/>
              <a:gd name="connsiteY1" fmla="*/ 0 h 6858000"/>
              <a:gd name="connsiteX2" fmla="*/ 8473878 w 9375946"/>
              <a:gd name="connsiteY2" fmla="*/ 6858000 h 6858000"/>
              <a:gd name="connsiteX3" fmla="*/ 0 w 9375946"/>
              <a:gd name="connsiteY3" fmla="*/ 6858000 h 6858000"/>
              <a:gd name="connsiteX4" fmla="*/ 0 w 9375946"/>
              <a:gd name="connsiteY4" fmla="*/ 0 h 6858000"/>
              <a:gd name="connsiteX0" fmla="*/ 0 w 9362785"/>
              <a:gd name="connsiteY0" fmla="*/ 0 h 6858000"/>
              <a:gd name="connsiteX1" fmla="*/ 8089702 w 9362785"/>
              <a:gd name="connsiteY1" fmla="*/ 0 h 6858000"/>
              <a:gd name="connsiteX2" fmla="*/ 8473878 w 9362785"/>
              <a:gd name="connsiteY2" fmla="*/ 6858000 h 6858000"/>
              <a:gd name="connsiteX3" fmla="*/ 0 w 9362785"/>
              <a:gd name="connsiteY3" fmla="*/ 6858000 h 6858000"/>
              <a:gd name="connsiteX4" fmla="*/ 0 w 9362785"/>
              <a:gd name="connsiteY4" fmla="*/ 0 h 6858000"/>
              <a:gd name="connsiteX0" fmla="*/ 0 w 9307600"/>
              <a:gd name="connsiteY0" fmla="*/ 0 h 6858000"/>
              <a:gd name="connsiteX1" fmla="*/ 8089702 w 9307600"/>
              <a:gd name="connsiteY1" fmla="*/ 0 h 6858000"/>
              <a:gd name="connsiteX2" fmla="*/ 8473878 w 9307600"/>
              <a:gd name="connsiteY2" fmla="*/ 6858000 h 6858000"/>
              <a:gd name="connsiteX3" fmla="*/ 0 w 9307600"/>
              <a:gd name="connsiteY3" fmla="*/ 6858000 h 6858000"/>
              <a:gd name="connsiteX4" fmla="*/ 0 w 9307600"/>
              <a:gd name="connsiteY4" fmla="*/ 0 h 6858000"/>
              <a:gd name="connsiteX0" fmla="*/ 0 w 9369357"/>
              <a:gd name="connsiteY0" fmla="*/ 0 h 6858000"/>
              <a:gd name="connsiteX1" fmla="*/ 8089702 w 9369357"/>
              <a:gd name="connsiteY1" fmla="*/ 0 h 6858000"/>
              <a:gd name="connsiteX2" fmla="*/ 8473878 w 9369357"/>
              <a:gd name="connsiteY2" fmla="*/ 6858000 h 6858000"/>
              <a:gd name="connsiteX3" fmla="*/ 0 w 9369357"/>
              <a:gd name="connsiteY3" fmla="*/ 6858000 h 6858000"/>
              <a:gd name="connsiteX4" fmla="*/ 0 w 9369357"/>
              <a:gd name="connsiteY4" fmla="*/ 0 h 6858000"/>
              <a:gd name="connsiteX0" fmla="*/ 0 w 9336139"/>
              <a:gd name="connsiteY0" fmla="*/ 0 h 6858000"/>
              <a:gd name="connsiteX1" fmla="*/ 8089702 w 9336139"/>
              <a:gd name="connsiteY1" fmla="*/ 0 h 6858000"/>
              <a:gd name="connsiteX2" fmla="*/ 8473878 w 9336139"/>
              <a:gd name="connsiteY2" fmla="*/ 6858000 h 6858000"/>
              <a:gd name="connsiteX3" fmla="*/ 0 w 9336139"/>
              <a:gd name="connsiteY3" fmla="*/ 6858000 h 6858000"/>
              <a:gd name="connsiteX4" fmla="*/ 0 w 9336139"/>
              <a:gd name="connsiteY4" fmla="*/ 0 h 6858000"/>
              <a:gd name="connsiteX0" fmla="*/ 0 w 9306558"/>
              <a:gd name="connsiteY0" fmla="*/ 0 h 6858000"/>
              <a:gd name="connsiteX1" fmla="*/ 8089702 w 9306558"/>
              <a:gd name="connsiteY1" fmla="*/ 0 h 6858000"/>
              <a:gd name="connsiteX2" fmla="*/ 8473878 w 9306558"/>
              <a:gd name="connsiteY2" fmla="*/ 6858000 h 6858000"/>
              <a:gd name="connsiteX3" fmla="*/ 0 w 9306558"/>
              <a:gd name="connsiteY3" fmla="*/ 6858000 h 6858000"/>
              <a:gd name="connsiteX4" fmla="*/ 0 w 9306558"/>
              <a:gd name="connsiteY4" fmla="*/ 0 h 6858000"/>
              <a:gd name="connsiteX0" fmla="*/ 0 w 9274758"/>
              <a:gd name="connsiteY0" fmla="*/ 0 h 6858000"/>
              <a:gd name="connsiteX1" fmla="*/ 8089702 w 9274758"/>
              <a:gd name="connsiteY1" fmla="*/ 0 h 6858000"/>
              <a:gd name="connsiteX2" fmla="*/ 8473878 w 9274758"/>
              <a:gd name="connsiteY2" fmla="*/ 6858000 h 6858000"/>
              <a:gd name="connsiteX3" fmla="*/ 0 w 9274758"/>
              <a:gd name="connsiteY3" fmla="*/ 6858000 h 6858000"/>
              <a:gd name="connsiteX4" fmla="*/ 0 w 9274758"/>
              <a:gd name="connsiteY4" fmla="*/ 0 h 6858000"/>
              <a:gd name="connsiteX0" fmla="*/ 0 w 9235503"/>
              <a:gd name="connsiteY0" fmla="*/ 0 h 6858000"/>
              <a:gd name="connsiteX1" fmla="*/ 8089702 w 9235503"/>
              <a:gd name="connsiteY1" fmla="*/ 0 h 6858000"/>
              <a:gd name="connsiteX2" fmla="*/ 8473878 w 9235503"/>
              <a:gd name="connsiteY2" fmla="*/ 6858000 h 6858000"/>
              <a:gd name="connsiteX3" fmla="*/ 0 w 9235503"/>
              <a:gd name="connsiteY3" fmla="*/ 6858000 h 6858000"/>
              <a:gd name="connsiteX4" fmla="*/ 0 w 9235503"/>
              <a:gd name="connsiteY4" fmla="*/ 0 h 6858000"/>
              <a:gd name="connsiteX0" fmla="*/ 0 w 9176864"/>
              <a:gd name="connsiteY0" fmla="*/ 0 h 6858000"/>
              <a:gd name="connsiteX1" fmla="*/ 8089702 w 9176864"/>
              <a:gd name="connsiteY1" fmla="*/ 0 h 6858000"/>
              <a:gd name="connsiteX2" fmla="*/ 8473878 w 9176864"/>
              <a:gd name="connsiteY2" fmla="*/ 6858000 h 6858000"/>
              <a:gd name="connsiteX3" fmla="*/ 0 w 9176864"/>
              <a:gd name="connsiteY3" fmla="*/ 6858000 h 6858000"/>
              <a:gd name="connsiteX4" fmla="*/ 0 w 9176864"/>
              <a:gd name="connsiteY4" fmla="*/ 0 h 6858000"/>
              <a:gd name="connsiteX0" fmla="*/ 0 w 9134352"/>
              <a:gd name="connsiteY0" fmla="*/ 0 h 6858000"/>
              <a:gd name="connsiteX1" fmla="*/ 8089702 w 9134352"/>
              <a:gd name="connsiteY1" fmla="*/ 0 h 6858000"/>
              <a:gd name="connsiteX2" fmla="*/ 8473878 w 9134352"/>
              <a:gd name="connsiteY2" fmla="*/ 6858000 h 6858000"/>
              <a:gd name="connsiteX3" fmla="*/ 0 w 9134352"/>
              <a:gd name="connsiteY3" fmla="*/ 6858000 h 6858000"/>
              <a:gd name="connsiteX4" fmla="*/ 0 w 9134352"/>
              <a:gd name="connsiteY4" fmla="*/ 0 h 6858000"/>
              <a:gd name="connsiteX0" fmla="*/ 0 w 9019795"/>
              <a:gd name="connsiteY0" fmla="*/ 0 h 6858000"/>
              <a:gd name="connsiteX1" fmla="*/ 7708702 w 9019795"/>
              <a:gd name="connsiteY1" fmla="*/ 0 h 6858000"/>
              <a:gd name="connsiteX2" fmla="*/ 8473878 w 9019795"/>
              <a:gd name="connsiteY2" fmla="*/ 6858000 h 6858000"/>
              <a:gd name="connsiteX3" fmla="*/ 0 w 9019795"/>
              <a:gd name="connsiteY3" fmla="*/ 6858000 h 6858000"/>
              <a:gd name="connsiteX4" fmla="*/ 0 w 9019795"/>
              <a:gd name="connsiteY4" fmla="*/ 0 h 6858000"/>
              <a:gd name="connsiteX0" fmla="*/ 0 w 9137322"/>
              <a:gd name="connsiteY0" fmla="*/ 0 h 6858000"/>
              <a:gd name="connsiteX1" fmla="*/ 8098169 w 9137322"/>
              <a:gd name="connsiteY1" fmla="*/ 8467 h 6858000"/>
              <a:gd name="connsiteX2" fmla="*/ 8473878 w 9137322"/>
              <a:gd name="connsiteY2" fmla="*/ 6858000 h 6858000"/>
              <a:gd name="connsiteX3" fmla="*/ 0 w 9137322"/>
              <a:gd name="connsiteY3" fmla="*/ 6858000 h 6858000"/>
              <a:gd name="connsiteX4" fmla="*/ 0 w 9137322"/>
              <a:gd name="connsiteY4" fmla="*/ 0 h 6858000"/>
              <a:gd name="connsiteX0" fmla="*/ 0 w 9118106"/>
              <a:gd name="connsiteY0" fmla="*/ 0 h 6858000"/>
              <a:gd name="connsiteX1" fmla="*/ 8098169 w 9118106"/>
              <a:gd name="connsiteY1" fmla="*/ 8467 h 6858000"/>
              <a:gd name="connsiteX2" fmla="*/ 8473878 w 9118106"/>
              <a:gd name="connsiteY2" fmla="*/ 6858000 h 6858000"/>
              <a:gd name="connsiteX3" fmla="*/ 0 w 9118106"/>
              <a:gd name="connsiteY3" fmla="*/ 6858000 h 6858000"/>
              <a:gd name="connsiteX4" fmla="*/ 0 w 9118106"/>
              <a:gd name="connsiteY4" fmla="*/ 0 h 6858000"/>
              <a:gd name="connsiteX0" fmla="*/ 0 w 9190483"/>
              <a:gd name="connsiteY0" fmla="*/ 0 h 6858000"/>
              <a:gd name="connsiteX1" fmla="*/ 8098169 w 9190483"/>
              <a:gd name="connsiteY1" fmla="*/ 8467 h 6858000"/>
              <a:gd name="connsiteX2" fmla="*/ 8473878 w 9190483"/>
              <a:gd name="connsiteY2" fmla="*/ 6858000 h 6858000"/>
              <a:gd name="connsiteX3" fmla="*/ 0 w 9190483"/>
              <a:gd name="connsiteY3" fmla="*/ 6858000 h 6858000"/>
              <a:gd name="connsiteX4" fmla="*/ 0 w 9190483"/>
              <a:gd name="connsiteY4" fmla="*/ 0 h 6858000"/>
              <a:gd name="connsiteX0" fmla="*/ 0 w 9208396"/>
              <a:gd name="connsiteY0" fmla="*/ 0 h 6858000"/>
              <a:gd name="connsiteX1" fmla="*/ 8098169 w 9208396"/>
              <a:gd name="connsiteY1" fmla="*/ 8467 h 6858000"/>
              <a:gd name="connsiteX2" fmla="*/ 8473878 w 9208396"/>
              <a:gd name="connsiteY2" fmla="*/ 6858000 h 6858000"/>
              <a:gd name="connsiteX3" fmla="*/ 0 w 9208396"/>
              <a:gd name="connsiteY3" fmla="*/ 6858000 h 6858000"/>
              <a:gd name="connsiteX4" fmla="*/ 0 w 9208396"/>
              <a:gd name="connsiteY4" fmla="*/ 0 h 6858000"/>
              <a:gd name="connsiteX0" fmla="*/ 0 w 9208396"/>
              <a:gd name="connsiteY0" fmla="*/ 0 h 6858000"/>
              <a:gd name="connsiteX1" fmla="*/ 8098169 w 9208396"/>
              <a:gd name="connsiteY1" fmla="*/ 8467 h 6858000"/>
              <a:gd name="connsiteX2" fmla="*/ 8473878 w 9208396"/>
              <a:gd name="connsiteY2" fmla="*/ 6858000 h 6858000"/>
              <a:gd name="connsiteX3" fmla="*/ 0 w 9208396"/>
              <a:gd name="connsiteY3" fmla="*/ 6858000 h 6858000"/>
              <a:gd name="connsiteX4" fmla="*/ 0 w 9208396"/>
              <a:gd name="connsiteY4" fmla="*/ 0 h 6858000"/>
              <a:gd name="connsiteX0" fmla="*/ 0 w 9275888"/>
              <a:gd name="connsiteY0" fmla="*/ 0 h 6858000"/>
              <a:gd name="connsiteX1" fmla="*/ 8098169 w 9275888"/>
              <a:gd name="connsiteY1" fmla="*/ 8467 h 6858000"/>
              <a:gd name="connsiteX2" fmla="*/ 8473878 w 9275888"/>
              <a:gd name="connsiteY2" fmla="*/ 6858000 h 6858000"/>
              <a:gd name="connsiteX3" fmla="*/ 0 w 9275888"/>
              <a:gd name="connsiteY3" fmla="*/ 6858000 h 6858000"/>
              <a:gd name="connsiteX4" fmla="*/ 0 w 9275888"/>
              <a:gd name="connsiteY4" fmla="*/ 0 h 6858000"/>
              <a:gd name="connsiteX0" fmla="*/ 0 w 9304173"/>
              <a:gd name="connsiteY0" fmla="*/ 0 h 6858000"/>
              <a:gd name="connsiteX1" fmla="*/ 8098169 w 9304173"/>
              <a:gd name="connsiteY1" fmla="*/ 8467 h 6858000"/>
              <a:gd name="connsiteX2" fmla="*/ 8473878 w 9304173"/>
              <a:gd name="connsiteY2" fmla="*/ 6858000 h 6858000"/>
              <a:gd name="connsiteX3" fmla="*/ 0 w 9304173"/>
              <a:gd name="connsiteY3" fmla="*/ 6858000 h 6858000"/>
              <a:gd name="connsiteX4" fmla="*/ 0 w 9304173"/>
              <a:gd name="connsiteY4" fmla="*/ 0 h 6858000"/>
              <a:gd name="connsiteX0" fmla="*/ 0 w 9273098"/>
              <a:gd name="connsiteY0" fmla="*/ 0 h 6858000"/>
              <a:gd name="connsiteX1" fmla="*/ 8098169 w 9273098"/>
              <a:gd name="connsiteY1" fmla="*/ 8467 h 6858000"/>
              <a:gd name="connsiteX2" fmla="*/ 8473878 w 9273098"/>
              <a:gd name="connsiteY2" fmla="*/ 6858000 h 6858000"/>
              <a:gd name="connsiteX3" fmla="*/ 0 w 9273098"/>
              <a:gd name="connsiteY3" fmla="*/ 6858000 h 6858000"/>
              <a:gd name="connsiteX4" fmla="*/ 0 w 9273098"/>
              <a:gd name="connsiteY4" fmla="*/ 0 h 6858000"/>
              <a:gd name="connsiteX0" fmla="*/ 0 w 9169373"/>
              <a:gd name="connsiteY0" fmla="*/ 0 h 6858000"/>
              <a:gd name="connsiteX1" fmla="*/ 8098169 w 9169373"/>
              <a:gd name="connsiteY1" fmla="*/ 8467 h 6858000"/>
              <a:gd name="connsiteX2" fmla="*/ 8287611 w 9169373"/>
              <a:gd name="connsiteY2" fmla="*/ 6858000 h 6858000"/>
              <a:gd name="connsiteX3" fmla="*/ 0 w 9169373"/>
              <a:gd name="connsiteY3" fmla="*/ 6858000 h 6858000"/>
              <a:gd name="connsiteX4" fmla="*/ 0 w 9169373"/>
              <a:gd name="connsiteY4" fmla="*/ 0 h 6858000"/>
              <a:gd name="connsiteX0" fmla="*/ 0 w 9318338"/>
              <a:gd name="connsiteY0" fmla="*/ 0 h 6858000"/>
              <a:gd name="connsiteX1" fmla="*/ 8098169 w 9318338"/>
              <a:gd name="connsiteY1" fmla="*/ 8467 h 6858000"/>
              <a:gd name="connsiteX2" fmla="*/ 8550078 w 9318338"/>
              <a:gd name="connsiteY2" fmla="*/ 6849533 h 6858000"/>
              <a:gd name="connsiteX3" fmla="*/ 0 w 9318338"/>
              <a:gd name="connsiteY3" fmla="*/ 6858000 h 6858000"/>
              <a:gd name="connsiteX4" fmla="*/ 0 w 9318338"/>
              <a:gd name="connsiteY4" fmla="*/ 0 h 6858000"/>
              <a:gd name="connsiteX0" fmla="*/ 0 w 9268170"/>
              <a:gd name="connsiteY0" fmla="*/ 0 h 6858000"/>
              <a:gd name="connsiteX1" fmla="*/ 8098169 w 9268170"/>
              <a:gd name="connsiteY1" fmla="*/ 8467 h 6858000"/>
              <a:gd name="connsiteX2" fmla="*/ 8465411 w 9268170"/>
              <a:gd name="connsiteY2" fmla="*/ 6849533 h 6858000"/>
              <a:gd name="connsiteX3" fmla="*/ 0 w 9268170"/>
              <a:gd name="connsiteY3" fmla="*/ 6858000 h 6858000"/>
              <a:gd name="connsiteX4" fmla="*/ 0 w 9268170"/>
              <a:gd name="connsiteY4" fmla="*/ 0 h 6858000"/>
              <a:gd name="connsiteX0" fmla="*/ 0 w 9239026"/>
              <a:gd name="connsiteY0" fmla="*/ 0 h 6858000"/>
              <a:gd name="connsiteX1" fmla="*/ 8098169 w 9239026"/>
              <a:gd name="connsiteY1" fmla="*/ 8467 h 6858000"/>
              <a:gd name="connsiteX2" fmla="*/ 8414611 w 9239026"/>
              <a:gd name="connsiteY2" fmla="*/ 6849533 h 6858000"/>
              <a:gd name="connsiteX3" fmla="*/ 0 w 9239026"/>
              <a:gd name="connsiteY3" fmla="*/ 6858000 h 6858000"/>
              <a:gd name="connsiteX4" fmla="*/ 0 w 9239026"/>
              <a:gd name="connsiteY4" fmla="*/ 0 h 6858000"/>
              <a:gd name="connsiteX0" fmla="*/ 0 w 9268170"/>
              <a:gd name="connsiteY0" fmla="*/ 0 h 6858000"/>
              <a:gd name="connsiteX1" fmla="*/ 8098169 w 9268170"/>
              <a:gd name="connsiteY1" fmla="*/ 8467 h 6858000"/>
              <a:gd name="connsiteX2" fmla="*/ 8465411 w 9268170"/>
              <a:gd name="connsiteY2" fmla="*/ 6849533 h 6858000"/>
              <a:gd name="connsiteX3" fmla="*/ 0 w 9268170"/>
              <a:gd name="connsiteY3" fmla="*/ 6858000 h 6858000"/>
              <a:gd name="connsiteX4" fmla="*/ 0 w 9268170"/>
              <a:gd name="connsiteY4" fmla="*/ 0 h 6858000"/>
              <a:gd name="connsiteX0" fmla="*/ 0 w 9223222"/>
              <a:gd name="connsiteY0" fmla="*/ 0 h 6858000"/>
              <a:gd name="connsiteX1" fmla="*/ 8098169 w 9223222"/>
              <a:gd name="connsiteY1" fmla="*/ 8467 h 6858000"/>
              <a:gd name="connsiteX2" fmla="*/ 8465411 w 9223222"/>
              <a:gd name="connsiteY2" fmla="*/ 6849533 h 6858000"/>
              <a:gd name="connsiteX3" fmla="*/ 0 w 9223222"/>
              <a:gd name="connsiteY3" fmla="*/ 6858000 h 6858000"/>
              <a:gd name="connsiteX4" fmla="*/ 0 w 9223222"/>
              <a:gd name="connsiteY4" fmla="*/ 0 h 6858000"/>
              <a:gd name="connsiteX0" fmla="*/ 0 w 9366536"/>
              <a:gd name="connsiteY0" fmla="*/ 0 h 6858000"/>
              <a:gd name="connsiteX1" fmla="*/ 8098169 w 9366536"/>
              <a:gd name="connsiteY1" fmla="*/ 8467 h 6858000"/>
              <a:gd name="connsiteX2" fmla="*/ 8465411 w 9366536"/>
              <a:gd name="connsiteY2" fmla="*/ 6849533 h 6858000"/>
              <a:gd name="connsiteX3" fmla="*/ 0 w 9366536"/>
              <a:gd name="connsiteY3" fmla="*/ 6858000 h 6858000"/>
              <a:gd name="connsiteX4" fmla="*/ 0 w 9366536"/>
              <a:gd name="connsiteY4" fmla="*/ 0 h 6858000"/>
              <a:gd name="connsiteX0" fmla="*/ 0 w 9393706"/>
              <a:gd name="connsiteY0" fmla="*/ 0 h 6858000"/>
              <a:gd name="connsiteX1" fmla="*/ 8098169 w 9393706"/>
              <a:gd name="connsiteY1" fmla="*/ 8467 h 6858000"/>
              <a:gd name="connsiteX2" fmla="*/ 8465411 w 9393706"/>
              <a:gd name="connsiteY2" fmla="*/ 6849533 h 6858000"/>
              <a:gd name="connsiteX3" fmla="*/ 0 w 9393706"/>
              <a:gd name="connsiteY3" fmla="*/ 6858000 h 6858000"/>
              <a:gd name="connsiteX4" fmla="*/ 0 w 9393706"/>
              <a:gd name="connsiteY4" fmla="*/ 0 h 6858000"/>
              <a:gd name="connsiteX0" fmla="*/ 0 w 9478936"/>
              <a:gd name="connsiteY0" fmla="*/ 0 h 6858000"/>
              <a:gd name="connsiteX1" fmla="*/ 8098169 w 9478936"/>
              <a:gd name="connsiteY1" fmla="*/ 8467 h 6858000"/>
              <a:gd name="connsiteX2" fmla="*/ 8465411 w 9478936"/>
              <a:gd name="connsiteY2" fmla="*/ 6849533 h 6858000"/>
              <a:gd name="connsiteX3" fmla="*/ 0 w 9478936"/>
              <a:gd name="connsiteY3" fmla="*/ 6858000 h 6858000"/>
              <a:gd name="connsiteX4" fmla="*/ 0 w 9478936"/>
              <a:gd name="connsiteY4" fmla="*/ 0 h 6858000"/>
              <a:gd name="connsiteX0" fmla="*/ 0 w 9478936"/>
              <a:gd name="connsiteY0" fmla="*/ 0 h 6858000"/>
              <a:gd name="connsiteX1" fmla="*/ 8098169 w 9478936"/>
              <a:gd name="connsiteY1" fmla="*/ 8467 h 6858000"/>
              <a:gd name="connsiteX2" fmla="*/ 8465411 w 9478936"/>
              <a:gd name="connsiteY2" fmla="*/ 6849533 h 6858000"/>
              <a:gd name="connsiteX3" fmla="*/ 0 w 9478936"/>
              <a:gd name="connsiteY3" fmla="*/ 6858000 h 6858000"/>
              <a:gd name="connsiteX4" fmla="*/ 0 w 9478936"/>
              <a:gd name="connsiteY4" fmla="*/ 0 h 6858000"/>
              <a:gd name="connsiteX0" fmla="*/ 0 w 9452814"/>
              <a:gd name="connsiteY0" fmla="*/ 0 h 6858000"/>
              <a:gd name="connsiteX1" fmla="*/ 8098169 w 9452814"/>
              <a:gd name="connsiteY1" fmla="*/ 8467 h 6858000"/>
              <a:gd name="connsiteX2" fmla="*/ 8465411 w 9452814"/>
              <a:gd name="connsiteY2" fmla="*/ 6849533 h 6858000"/>
              <a:gd name="connsiteX3" fmla="*/ 0 w 9452814"/>
              <a:gd name="connsiteY3" fmla="*/ 6858000 h 6858000"/>
              <a:gd name="connsiteX4" fmla="*/ 0 w 9452814"/>
              <a:gd name="connsiteY4" fmla="*/ 0 h 6858000"/>
              <a:gd name="connsiteX0" fmla="*/ 0 w 9401984"/>
              <a:gd name="connsiteY0" fmla="*/ 0 h 6858000"/>
              <a:gd name="connsiteX1" fmla="*/ 8098169 w 9401984"/>
              <a:gd name="connsiteY1" fmla="*/ 8467 h 6858000"/>
              <a:gd name="connsiteX2" fmla="*/ 8465411 w 9401984"/>
              <a:gd name="connsiteY2" fmla="*/ 6849533 h 6858000"/>
              <a:gd name="connsiteX3" fmla="*/ 0 w 9401984"/>
              <a:gd name="connsiteY3" fmla="*/ 6858000 h 6858000"/>
              <a:gd name="connsiteX4" fmla="*/ 0 w 9401984"/>
              <a:gd name="connsiteY4" fmla="*/ 0 h 6858000"/>
              <a:gd name="connsiteX0" fmla="*/ 0 w 9345284"/>
              <a:gd name="connsiteY0" fmla="*/ 0 h 6858000"/>
              <a:gd name="connsiteX1" fmla="*/ 8098169 w 9345284"/>
              <a:gd name="connsiteY1" fmla="*/ 8467 h 6858000"/>
              <a:gd name="connsiteX2" fmla="*/ 8465411 w 9345284"/>
              <a:gd name="connsiteY2" fmla="*/ 6849533 h 6858000"/>
              <a:gd name="connsiteX3" fmla="*/ 0 w 9345284"/>
              <a:gd name="connsiteY3" fmla="*/ 6858000 h 6858000"/>
              <a:gd name="connsiteX4" fmla="*/ 0 w 9345284"/>
              <a:gd name="connsiteY4" fmla="*/ 0 h 6858000"/>
              <a:gd name="connsiteX0" fmla="*/ 0 w 9289178"/>
              <a:gd name="connsiteY0" fmla="*/ 0 h 6858000"/>
              <a:gd name="connsiteX1" fmla="*/ 8098169 w 9289178"/>
              <a:gd name="connsiteY1" fmla="*/ 8467 h 6858000"/>
              <a:gd name="connsiteX2" fmla="*/ 8465411 w 9289178"/>
              <a:gd name="connsiteY2" fmla="*/ 6849533 h 6858000"/>
              <a:gd name="connsiteX3" fmla="*/ 0 w 9289178"/>
              <a:gd name="connsiteY3" fmla="*/ 6858000 h 6858000"/>
              <a:gd name="connsiteX4" fmla="*/ 0 w 9289178"/>
              <a:gd name="connsiteY4" fmla="*/ 0 h 6858000"/>
              <a:gd name="connsiteX0" fmla="*/ 0 w 9252987"/>
              <a:gd name="connsiteY0" fmla="*/ 0 h 6858000"/>
              <a:gd name="connsiteX1" fmla="*/ 8098169 w 9252987"/>
              <a:gd name="connsiteY1" fmla="*/ 8467 h 6858000"/>
              <a:gd name="connsiteX2" fmla="*/ 8465411 w 9252987"/>
              <a:gd name="connsiteY2" fmla="*/ 6849533 h 6858000"/>
              <a:gd name="connsiteX3" fmla="*/ 0 w 9252987"/>
              <a:gd name="connsiteY3" fmla="*/ 6858000 h 6858000"/>
              <a:gd name="connsiteX4" fmla="*/ 0 w 9252987"/>
              <a:gd name="connsiteY4" fmla="*/ 0 h 6858000"/>
              <a:gd name="connsiteX0" fmla="*/ 0 w 9314245"/>
              <a:gd name="connsiteY0" fmla="*/ 0 h 6858000"/>
              <a:gd name="connsiteX1" fmla="*/ 8098169 w 9314245"/>
              <a:gd name="connsiteY1" fmla="*/ 8467 h 6858000"/>
              <a:gd name="connsiteX2" fmla="*/ 8465411 w 9314245"/>
              <a:gd name="connsiteY2" fmla="*/ 6849533 h 6858000"/>
              <a:gd name="connsiteX3" fmla="*/ 0 w 9314245"/>
              <a:gd name="connsiteY3" fmla="*/ 6858000 h 6858000"/>
              <a:gd name="connsiteX4" fmla="*/ 0 w 9314245"/>
              <a:gd name="connsiteY4" fmla="*/ 0 h 6858000"/>
              <a:gd name="connsiteX0" fmla="*/ 0 w 9195896"/>
              <a:gd name="connsiteY0" fmla="*/ 0 h 6858000"/>
              <a:gd name="connsiteX1" fmla="*/ 8098169 w 9195896"/>
              <a:gd name="connsiteY1" fmla="*/ 8467 h 6858000"/>
              <a:gd name="connsiteX2" fmla="*/ 8465411 w 9195896"/>
              <a:gd name="connsiteY2" fmla="*/ 6849533 h 6858000"/>
              <a:gd name="connsiteX3" fmla="*/ 0 w 9195896"/>
              <a:gd name="connsiteY3" fmla="*/ 6858000 h 6858000"/>
              <a:gd name="connsiteX4" fmla="*/ 0 w 9195896"/>
              <a:gd name="connsiteY4" fmla="*/ 0 h 6858000"/>
              <a:gd name="connsiteX0" fmla="*/ 0 w 9174619"/>
              <a:gd name="connsiteY0" fmla="*/ 0 h 6858000"/>
              <a:gd name="connsiteX1" fmla="*/ 8098169 w 9174619"/>
              <a:gd name="connsiteY1" fmla="*/ 8467 h 6858000"/>
              <a:gd name="connsiteX2" fmla="*/ 8465411 w 9174619"/>
              <a:gd name="connsiteY2" fmla="*/ 6849533 h 6858000"/>
              <a:gd name="connsiteX3" fmla="*/ 0 w 9174619"/>
              <a:gd name="connsiteY3" fmla="*/ 6858000 h 6858000"/>
              <a:gd name="connsiteX4" fmla="*/ 0 w 9174619"/>
              <a:gd name="connsiteY4" fmla="*/ 0 h 6858000"/>
              <a:gd name="connsiteX0" fmla="*/ 0 w 9206567"/>
              <a:gd name="connsiteY0" fmla="*/ 0 h 6858000"/>
              <a:gd name="connsiteX1" fmla="*/ 8098169 w 9206567"/>
              <a:gd name="connsiteY1" fmla="*/ 8467 h 6858000"/>
              <a:gd name="connsiteX2" fmla="*/ 8465411 w 9206567"/>
              <a:gd name="connsiteY2" fmla="*/ 6849533 h 6858000"/>
              <a:gd name="connsiteX3" fmla="*/ 0 w 9206567"/>
              <a:gd name="connsiteY3" fmla="*/ 6858000 h 6858000"/>
              <a:gd name="connsiteX4" fmla="*/ 0 w 9206567"/>
              <a:gd name="connsiteY4" fmla="*/ 0 h 6858000"/>
              <a:gd name="connsiteX0" fmla="*/ 0 w 9100143"/>
              <a:gd name="connsiteY0" fmla="*/ 0 h 6858000"/>
              <a:gd name="connsiteX1" fmla="*/ 8098169 w 9100143"/>
              <a:gd name="connsiteY1" fmla="*/ 8467 h 6858000"/>
              <a:gd name="connsiteX2" fmla="*/ 8282444 w 9100143"/>
              <a:gd name="connsiteY2" fmla="*/ 6849533 h 6858000"/>
              <a:gd name="connsiteX3" fmla="*/ 0 w 9100143"/>
              <a:gd name="connsiteY3" fmla="*/ 6858000 h 6858000"/>
              <a:gd name="connsiteX4" fmla="*/ 0 w 9100143"/>
              <a:gd name="connsiteY4" fmla="*/ 0 h 6858000"/>
              <a:gd name="connsiteX0" fmla="*/ 0 w 8948024"/>
              <a:gd name="connsiteY0" fmla="*/ 0 h 6858000"/>
              <a:gd name="connsiteX1" fmla="*/ 8098169 w 8948024"/>
              <a:gd name="connsiteY1" fmla="*/ 8467 h 6858000"/>
              <a:gd name="connsiteX2" fmla="*/ 7983043 w 8948024"/>
              <a:gd name="connsiteY2" fmla="*/ 6858000 h 6858000"/>
              <a:gd name="connsiteX3" fmla="*/ 0 w 8948024"/>
              <a:gd name="connsiteY3" fmla="*/ 6858000 h 6858000"/>
              <a:gd name="connsiteX4" fmla="*/ 0 w 8948024"/>
              <a:gd name="connsiteY4" fmla="*/ 0 h 6858000"/>
              <a:gd name="connsiteX0" fmla="*/ 0 w 8842800"/>
              <a:gd name="connsiteY0" fmla="*/ 0 h 6858000"/>
              <a:gd name="connsiteX1" fmla="*/ 7890251 w 8842800"/>
              <a:gd name="connsiteY1" fmla="*/ 16934 h 6858000"/>
              <a:gd name="connsiteX2" fmla="*/ 7983043 w 8842800"/>
              <a:gd name="connsiteY2" fmla="*/ 6858000 h 6858000"/>
              <a:gd name="connsiteX3" fmla="*/ 0 w 8842800"/>
              <a:gd name="connsiteY3" fmla="*/ 6858000 h 6858000"/>
              <a:gd name="connsiteX4" fmla="*/ 0 w 8842800"/>
              <a:gd name="connsiteY4" fmla="*/ 0 h 6858000"/>
              <a:gd name="connsiteX0" fmla="*/ 0 w 8862771"/>
              <a:gd name="connsiteY0" fmla="*/ 0 h 6858000"/>
              <a:gd name="connsiteX1" fmla="*/ 7931834 w 8862771"/>
              <a:gd name="connsiteY1" fmla="*/ 0 h 6858000"/>
              <a:gd name="connsiteX2" fmla="*/ 7983043 w 8862771"/>
              <a:gd name="connsiteY2" fmla="*/ 6858000 h 6858000"/>
              <a:gd name="connsiteX3" fmla="*/ 0 w 8862771"/>
              <a:gd name="connsiteY3" fmla="*/ 6858000 h 6858000"/>
              <a:gd name="connsiteX4" fmla="*/ 0 w 8862771"/>
              <a:gd name="connsiteY4" fmla="*/ 0 h 6858000"/>
              <a:gd name="connsiteX0" fmla="*/ 0 w 8842217"/>
              <a:gd name="connsiteY0" fmla="*/ 0 h 6858000"/>
              <a:gd name="connsiteX1" fmla="*/ 7931834 w 8842217"/>
              <a:gd name="connsiteY1" fmla="*/ 0 h 6858000"/>
              <a:gd name="connsiteX2" fmla="*/ 7942500 w 8842217"/>
              <a:gd name="connsiteY2" fmla="*/ 6858000 h 6858000"/>
              <a:gd name="connsiteX3" fmla="*/ 0 w 8842217"/>
              <a:gd name="connsiteY3" fmla="*/ 6858000 h 6858000"/>
              <a:gd name="connsiteX4" fmla="*/ 0 w 8842217"/>
              <a:gd name="connsiteY4" fmla="*/ 0 h 6858000"/>
              <a:gd name="connsiteX0" fmla="*/ 0 w 8905648"/>
              <a:gd name="connsiteY0" fmla="*/ 0 h 6858000"/>
              <a:gd name="connsiteX1" fmla="*/ 7931834 w 8905648"/>
              <a:gd name="connsiteY1" fmla="*/ 0 h 6858000"/>
              <a:gd name="connsiteX2" fmla="*/ 7942500 w 8905648"/>
              <a:gd name="connsiteY2" fmla="*/ 6858000 h 6858000"/>
              <a:gd name="connsiteX3" fmla="*/ 0 w 8905648"/>
              <a:gd name="connsiteY3" fmla="*/ 6858000 h 6858000"/>
              <a:gd name="connsiteX4" fmla="*/ 0 w 8905648"/>
              <a:gd name="connsiteY4" fmla="*/ 0 h 6858000"/>
              <a:gd name="connsiteX0" fmla="*/ 0 w 8905648"/>
              <a:gd name="connsiteY0" fmla="*/ 0 h 6858000"/>
              <a:gd name="connsiteX1" fmla="*/ 7931834 w 8905648"/>
              <a:gd name="connsiteY1" fmla="*/ 0 h 6858000"/>
              <a:gd name="connsiteX2" fmla="*/ 7942500 w 8905648"/>
              <a:gd name="connsiteY2" fmla="*/ 6858000 h 6858000"/>
              <a:gd name="connsiteX3" fmla="*/ 0 w 8905648"/>
              <a:gd name="connsiteY3" fmla="*/ 6858000 h 6858000"/>
              <a:gd name="connsiteX4" fmla="*/ 0 w 8905648"/>
              <a:gd name="connsiteY4" fmla="*/ 0 h 6858000"/>
              <a:gd name="connsiteX0" fmla="*/ 0 w 8905648"/>
              <a:gd name="connsiteY0" fmla="*/ 0 h 6858000"/>
              <a:gd name="connsiteX1" fmla="*/ 7931834 w 8905648"/>
              <a:gd name="connsiteY1" fmla="*/ 0 h 6858000"/>
              <a:gd name="connsiteX2" fmla="*/ 7942500 w 8905648"/>
              <a:gd name="connsiteY2" fmla="*/ 6858000 h 6858000"/>
              <a:gd name="connsiteX3" fmla="*/ 0 w 8905648"/>
              <a:gd name="connsiteY3" fmla="*/ 6858000 h 6858000"/>
              <a:gd name="connsiteX4" fmla="*/ 0 w 8905648"/>
              <a:gd name="connsiteY4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905648" h="6858000">
                <a:moveTo>
                  <a:pt x="0" y="0"/>
                </a:moveTo>
                <a:lnTo>
                  <a:pt x="7931834" y="0"/>
                </a:lnTo>
                <a:cubicBezTo>
                  <a:pt x="9147034" y="1409703"/>
                  <a:pt x="9307099" y="5528732"/>
                  <a:pt x="7942500" y="6858000"/>
                </a:cubicBez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blipFill dpi="0" rotWithShape="1"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4">
            <a:extLst>
              <a:ext uri="{FF2B5EF4-FFF2-40B4-BE49-F238E27FC236}">
                <a16:creationId xmlns:a16="http://schemas.microsoft.com/office/drawing/2014/main" id="{64C2365B-E1EF-4CA0-BFA5-C5893AFF2AA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037698" y="1900069"/>
            <a:ext cx="4144334" cy="4129892"/>
          </a:xfrm>
          <a:prstGeom prst="ellipse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>
                <a:noFill/>
              </a:defRPr>
            </a:lvl1pPr>
            <a:lvl2pPr>
              <a:defRPr>
                <a:noFill/>
              </a:defRPr>
            </a:lvl2pPr>
            <a:lvl3pPr>
              <a:defRPr>
                <a:noFill/>
              </a:defRPr>
            </a:lvl3pPr>
            <a:lvl4pPr>
              <a:defRPr>
                <a:noFill/>
              </a:defRPr>
            </a:lvl4pPr>
            <a:lvl5pPr>
              <a:defRPr>
                <a:noFill/>
              </a:defRPr>
            </a:lvl5pPr>
          </a:lstStyle>
          <a:p>
            <a:pPr lvl="0"/>
            <a:r>
              <a:rPr lang="de-DE" dirty="0"/>
              <a:t>Ebene</a:t>
            </a:r>
            <a:endParaRPr lang="de-CH" dirty="0"/>
          </a:p>
        </p:txBody>
      </p:sp>
      <p:sp>
        <p:nvSpPr>
          <p:cNvPr id="16" name="Textplatzhalter 25">
            <a:extLst>
              <a:ext uri="{FF2B5EF4-FFF2-40B4-BE49-F238E27FC236}">
                <a16:creationId xmlns:a16="http://schemas.microsoft.com/office/drawing/2014/main" id="{5A485703-E499-49C6-AEB3-75165E6A22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03218" y="2380343"/>
            <a:ext cx="4180794" cy="4180794"/>
          </a:xfrm>
          <a:prstGeom prst="ellipse">
            <a:avLst/>
          </a:prstGeom>
          <a:solidFill>
            <a:schemeClr val="accent1">
              <a:alpha val="70000"/>
            </a:schemeClr>
          </a:solidFill>
        </p:spPr>
        <p:txBody>
          <a:bodyPr lIns="0" tIns="0" rIns="0" bIns="0" anchor="ctr">
            <a:noAutofit/>
          </a:bodyPr>
          <a:lstStyle>
            <a:lvl1pPr marL="457200">
              <a:defRPr kumimoji="0" lang="de-DE" sz="3600" b="1" i="0" u="none" strike="noStrike" kern="1200" cap="all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kkurat"/>
                <a:ea typeface="+mn-ea"/>
                <a:cs typeface="+mn-cs"/>
              </a:defRPr>
            </a:lvl1pPr>
            <a:lvl2pPr marL="457200">
              <a:lnSpc>
                <a:spcPct val="120000"/>
              </a:lnSpc>
              <a:defRPr b="0">
                <a:solidFill>
                  <a:schemeClr val="bg1"/>
                </a:solidFill>
              </a:defRPr>
            </a:lvl2pPr>
          </a:lstStyle>
          <a:p>
            <a:pPr lvl="0"/>
            <a:r>
              <a:rPr lang="de-DE" dirty="0"/>
              <a:t>Hier steht der Titel</a:t>
            </a:r>
          </a:p>
          <a:p>
            <a:pPr lvl="1"/>
            <a:r>
              <a:rPr lang="de-DE" dirty="0" err="1"/>
              <a:t>Sub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990854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7E8EEF-0D93-431B-B199-F98CE3EEB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6BD37D-39A7-43C1-A509-E85691DF3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ACFD94B-DCB7-41A7-976E-1A75D624373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8" y="1670049"/>
            <a:ext cx="11376025" cy="4885200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773901D7-93BC-4BE1-A1D1-75917A2E24A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8" y="296864"/>
            <a:ext cx="4427181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Titel der Präsentation</a:t>
            </a:r>
          </a:p>
        </p:txBody>
      </p:sp>
    </p:spTree>
    <p:extLst>
      <p:ext uri="{BB962C8B-B14F-4D97-AF65-F5344CB8AC3E}">
        <p14:creationId xmlns:p14="http://schemas.microsoft.com/office/powerpoint/2010/main" val="23682919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7E8EEF-0D93-431B-B199-F98CE3EEB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C2FBD2-129C-4316-8940-ED2EEEBE87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6BD37D-39A7-43C1-A509-E85691DF3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08757700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2-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7E8EEF-0D93-431B-B199-F98CE3EEB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C2FBD2-129C-4316-8940-ED2EEEBE87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6BD37D-39A7-43C1-A509-E85691DF3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1ACFD94B-DCB7-41A7-976E-1A75D6243737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6" y="1672167"/>
            <a:ext cx="5414964" cy="4886224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  <p:sp>
        <p:nvSpPr>
          <p:cNvPr id="9" name="Inhaltsplatzhalter 5">
            <a:extLst>
              <a:ext uri="{FF2B5EF4-FFF2-40B4-BE49-F238E27FC236}">
                <a16:creationId xmlns:a16="http://schemas.microsoft.com/office/drawing/2014/main" id="{DD60E92E-EFBD-4681-8993-AE4D02A09BC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378574" y="1672167"/>
            <a:ext cx="5405439" cy="4885266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8513368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668" userDrawn="1">
          <p15:clr>
            <a:srgbClr val="FBAE40"/>
          </p15:clr>
        </p15:guide>
        <p15:guide id="2" pos="4015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Tea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7E8EEF-0D93-431B-B199-F98CE3EEB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C2FBD2-129C-4316-8940-ED2EEEBE87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6BD37D-39A7-43C1-A509-E85691DF3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43A4B2E9-5D8A-4C85-835A-912F52FD923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7714" y="4358639"/>
            <a:ext cx="1756646" cy="1750525"/>
          </a:xfrm>
          <a:prstGeom prst="rect">
            <a:avLst/>
          </a:prstGeom>
        </p:spPr>
      </p:pic>
      <p:pic>
        <p:nvPicPr>
          <p:cNvPr id="9" name="Grafik 8">
            <a:extLst>
              <a:ext uri="{FF2B5EF4-FFF2-40B4-BE49-F238E27FC236}">
                <a16:creationId xmlns:a16="http://schemas.microsoft.com/office/drawing/2014/main" id="{14524D9D-DDA7-4895-8FC5-A66B1C7889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457714" y="1821179"/>
            <a:ext cx="1756646" cy="1750525"/>
          </a:xfrm>
          <a:prstGeom prst="rect">
            <a:avLst/>
          </a:prstGeom>
        </p:spPr>
      </p:pic>
      <p:pic>
        <p:nvPicPr>
          <p:cNvPr id="10" name="Grafik 9">
            <a:extLst>
              <a:ext uri="{FF2B5EF4-FFF2-40B4-BE49-F238E27FC236}">
                <a16:creationId xmlns:a16="http://schemas.microsoft.com/office/drawing/2014/main" id="{C078DD34-FFDA-4930-85A5-4DA527FFB02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294" y="4358639"/>
            <a:ext cx="1756646" cy="1750525"/>
          </a:xfrm>
          <a:prstGeom prst="rect">
            <a:avLst/>
          </a:prstGeom>
        </p:spPr>
      </p:pic>
      <p:pic>
        <p:nvPicPr>
          <p:cNvPr id="11" name="Grafik 10">
            <a:extLst>
              <a:ext uri="{FF2B5EF4-FFF2-40B4-BE49-F238E27FC236}">
                <a16:creationId xmlns:a16="http://schemas.microsoft.com/office/drawing/2014/main" id="{2AE45DA3-217A-452B-922A-D2AF07C2B7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0294" y="1821179"/>
            <a:ext cx="1756646" cy="1750525"/>
          </a:xfrm>
          <a:prstGeom prst="rect">
            <a:avLst/>
          </a:prstGeom>
        </p:spPr>
      </p:pic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EBA789E4-6CA6-4719-A905-92C2BA746D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04228" y="2015173"/>
            <a:ext cx="1748473" cy="1748473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30" name="Bildplatzhalter 28">
            <a:extLst>
              <a:ext uri="{FF2B5EF4-FFF2-40B4-BE49-F238E27FC236}">
                <a16:creationId xmlns:a16="http://schemas.microsoft.com/office/drawing/2014/main" id="{E038FCC6-0D2F-4D3C-9538-027987F3B0CC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804228" y="4552633"/>
            <a:ext cx="1748473" cy="1748473"/>
          </a:xfrm>
          <a:prstGeom prst="ellipse">
            <a:avLst/>
          </a:prstGeom>
          <a:solidFill>
            <a:schemeClr val="accent5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/>
              <a:t>Bild einfügen</a:t>
            </a:r>
          </a:p>
        </p:txBody>
      </p:sp>
      <p:sp>
        <p:nvSpPr>
          <p:cNvPr id="31" name="Bildplatzhalter 28">
            <a:extLst>
              <a:ext uri="{FF2B5EF4-FFF2-40B4-BE49-F238E27FC236}">
                <a16:creationId xmlns:a16="http://schemas.microsoft.com/office/drawing/2014/main" id="{533046B2-3FD9-4FE4-9D34-33FC646E7D1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831647" y="2015173"/>
            <a:ext cx="1748473" cy="1748473"/>
          </a:xfrm>
          <a:prstGeom prst="ellipse">
            <a:avLst/>
          </a:prstGeom>
          <a:solidFill>
            <a:schemeClr val="accent5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/>
              <a:t>Bild einfügen</a:t>
            </a:r>
          </a:p>
        </p:txBody>
      </p:sp>
      <p:sp>
        <p:nvSpPr>
          <p:cNvPr id="32" name="Bildplatzhalter 28">
            <a:extLst>
              <a:ext uri="{FF2B5EF4-FFF2-40B4-BE49-F238E27FC236}">
                <a16:creationId xmlns:a16="http://schemas.microsoft.com/office/drawing/2014/main" id="{39D2BBD8-92A9-40C1-A9B3-59C967BCF191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6831647" y="4552633"/>
            <a:ext cx="1748473" cy="1748473"/>
          </a:xfrm>
          <a:prstGeom prst="ellipse">
            <a:avLst/>
          </a:prstGeom>
          <a:solidFill>
            <a:schemeClr val="accent5"/>
          </a:solidFill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CH" dirty="0"/>
              <a:t>Bild einfüge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67DE2ADD-1237-493A-A2E6-37C201DD12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2705100" y="2349496"/>
            <a:ext cx="3048000" cy="147574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5" name="Textplatzhalter 33">
            <a:extLst>
              <a:ext uri="{FF2B5EF4-FFF2-40B4-BE49-F238E27FC236}">
                <a16:creationId xmlns:a16="http://schemas.microsoft.com/office/drawing/2014/main" id="{B081823C-1C5A-4FE6-B1F3-05F8B01F611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2705100" y="4886956"/>
            <a:ext cx="3048000" cy="147574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6" name="Textplatzhalter 33">
            <a:extLst>
              <a:ext uri="{FF2B5EF4-FFF2-40B4-BE49-F238E27FC236}">
                <a16:creationId xmlns:a16="http://schemas.microsoft.com/office/drawing/2014/main" id="{58E7DBE0-87E5-4BA5-9A7E-8E90C4ED765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32520" y="2349496"/>
            <a:ext cx="3048000" cy="147574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sp>
        <p:nvSpPr>
          <p:cNvPr id="37" name="Textplatzhalter 33">
            <a:extLst>
              <a:ext uri="{FF2B5EF4-FFF2-40B4-BE49-F238E27FC236}">
                <a16:creationId xmlns:a16="http://schemas.microsoft.com/office/drawing/2014/main" id="{34720E27-41EA-423B-BDDF-FD8C79453DA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732520" y="4886956"/>
            <a:ext cx="3048000" cy="1475744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 sz="14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27124033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pos="1703" userDrawn="1">
          <p15:clr>
            <a:srgbClr val="FBAE40"/>
          </p15:clr>
        </p15:guide>
        <p15:guide id="4" pos="5499" userDrawn="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-Team-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E7E8EEF-0D93-431B-B199-F98CE3EEBC4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CH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3C2FBD2-129C-4316-8940-ED2EEEBE876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Titel der Präsentation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D06BD37D-39A7-43C1-A509-E85691DF358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‹N°›</a:t>
            </a:fld>
            <a:endParaRPr lang="de-CH" dirty="0"/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2AE45DA3-217A-452B-922A-D2AF07C2B7F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8666" y="1668463"/>
            <a:ext cx="1201850" cy="1197662"/>
          </a:xfrm>
          <a:prstGeom prst="rect">
            <a:avLst/>
          </a:prstGeom>
        </p:spPr>
      </p:pic>
      <p:sp>
        <p:nvSpPr>
          <p:cNvPr id="29" name="Bildplatzhalter 28">
            <a:extLst>
              <a:ext uri="{FF2B5EF4-FFF2-40B4-BE49-F238E27FC236}">
                <a16:creationId xmlns:a16="http://schemas.microsoft.com/office/drawing/2014/main" id="{EBA789E4-6CA6-4719-A905-92C2BA746D1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82601" y="1862457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34" name="Textplatzhalter 33">
            <a:extLst>
              <a:ext uri="{FF2B5EF4-FFF2-40B4-BE49-F238E27FC236}">
                <a16:creationId xmlns:a16="http://schemas.microsoft.com/office/drawing/2014/main" id="{67DE2ADD-1237-493A-A2E6-37C201DD12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2600" y="3154659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3FA892AE-CCCE-471C-B08A-371E1CA3A9E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301573" y="1650473"/>
            <a:ext cx="1201850" cy="1197662"/>
          </a:xfrm>
          <a:prstGeom prst="rect">
            <a:avLst/>
          </a:prstGeom>
        </p:spPr>
      </p:pic>
      <p:sp>
        <p:nvSpPr>
          <p:cNvPr id="18" name="Bildplatzhalter 28">
            <a:extLst>
              <a:ext uri="{FF2B5EF4-FFF2-40B4-BE49-F238E27FC236}">
                <a16:creationId xmlns:a16="http://schemas.microsoft.com/office/drawing/2014/main" id="{A6AE0888-B1E5-4520-AA68-CF6C2DBBECF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3675508" y="1844467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19" name="Textplatzhalter 33">
            <a:extLst>
              <a:ext uri="{FF2B5EF4-FFF2-40B4-BE49-F238E27FC236}">
                <a16:creationId xmlns:a16="http://schemas.microsoft.com/office/drawing/2014/main" id="{723BD1B6-7D05-400D-A941-2B761B57F8E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675507" y="3136669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0" name="Grafik 10">
            <a:extLst>
              <a:ext uri="{FF2B5EF4-FFF2-40B4-BE49-F238E27FC236}">
                <a16:creationId xmlns:a16="http://schemas.microsoft.com/office/drawing/2014/main" id="{17A71A3F-B352-4085-A959-2270EA40DC0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94480" y="1668463"/>
            <a:ext cx="1201850" cy="1197662"/>
          </a:xfrm>
          <a:prstGeom prst="rect">
            <a:avLst/>
          </a:prstGeom>
        </p:spPr>
      </p:pic>
      <p:sp>
        <p:nvSpPr>
          <p:cNvPr id="21" name="Bildplatzhalter 28">
            <a:extLst>
              <a:ext uri="{FF2B5EF4-FFF2-40B4-BE49-F238E27FC236}">
                <a16:creationId xmlns:a16="http://schemas.microsoft.com/office/drawing/2014/main" id="{72E7E314-62DF-40F3-A9A7-B1D74F4782C2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6568415" y="1862457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22" name="Textplatzhalter 33">
            <a:extLst>
              <a:ext uri="{FF2B5EF4-FFF2-40B4-BE49-F238E27FC236}">
                <a16:creationId xmlns:a16="http://schemas.microsoft.com/office/drawing/2014/main" id="{E2A070F0-DDF3-438B-89F6-690227CB9E3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68414" y="3154659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3" name="Grafik 10">
            <a:extLst>
              <a:ext uri="{FF2B5EF4-FFF2-40B4-BE49-F238E27FC236}">
                <a16:creationId xmlns:a16="http://schemas.microsoft.com/office/drawing/2014/main" id="{B0B45FEB-2DF5-4229-A0F9-C80B8B845E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87388" y="1668463"/>
            <a:ext cx="1201850" cy="1197662"/>
          </a:xfrm>
          <a:prstGeom prst="rect">
            <a:avLst/>
          </a:prstGeom>
        </p:spPr>
      </p:pic>
      <p:sp>
        <p:nvSpPr>
          <p:cNvPr id="24" name="Bildplatzhalter 28">
            <a:extLst>
              <a:ext uri="{FF2B5EF4-FFF2-40B4-BE49-F238E27FC236}">
                <a16:creationId xmlns:a16="http://schemas.microsoft.com/office/drawing/2014/main" id="{0FB06BEC-4299-4E86-B239-925A3EECE304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9461323" y="1862457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25" name="Textplatzhalter 33">
            <a:extLst>
              <a:ext uri="{FF2B5EF4-FFF2-40B4-BE49-F238E27FC236}">
                <a16:creationId xmlns:a16="http://schemas.microsoft.com/office/drawing/2014/main" id="{813569CA-0B86-4450-89AC-889EE2E6259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9461322" y="3154659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26" name="Grafik 10">
            <a:extLst>
              <a:ext uri="{FF2B5EF4-FFF2-40B4-BE49-F238E27FC236}">
                <a16:creationId xmlns:a16="http://schemas.microsoft.com/office/drawing/2014/main" id="{31528DFA-3826-4690-B857-F0D38DB5D5E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6400" y="4262866"/>
            <a:ext cx="1201850" cy="1197662"/>
          </a:xfrm>
          <a:prstGeom prst="rect">
            <a:avLst/>
          </a:prstGeom>
        </p:spPr>
      </p:pic>
      <p:sp>
        <p:nvSpPr>
          <p:cNvPr id="27" name="Bildplatzhalter 28">
            <a:extLst>
              <a:ext uri="{FF2B5EF4-FFF2-40B4-BE49-F238E27FC236}">
                <a16:creationId xmlns:a16="http://schemas.microsoft.com/office/drawing/2014/main" id="{0FEFCB06-3FAB-4936-A7FA-15755A92237E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780335" y="4456860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28" name="Textplatzhalter 33">
            <a:extLst>
              <a:ext uri="{FF2B5EF4-FFF2-40B4-BE49-F238E27FC236}">
                <a16:creationId xmlns:a16="http://schemas.microsoft.com/office/drawing/2014/main" id="{BAD175B5-1AF3-4613-B6CD-767BACF04D2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0334" y="5749062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33" name="Grafik 10">
            <a:extLst>
              <a:ext uri="{FF2B5EF4-FFF2-40B4-BE49-F238E27FC236}">
                <a16:creationId xmlns:a16="http://schemas.microsoft.com/office/drawing/2014/main" id="{17C5E4C0-C6E3-4148-B735-65725E7882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299307" y="4244876"/>
            <a:ext cx="1201850" cy="1197662"/>
          </a:xfrm>
          <a:prstGeom prst="rect">
            <a:avLst/>
          </a:prstGeom>
        </p:spPr>
      </p:pic>
      <p:sp>
        <p:nvSpPr>
          <p:cNvPr id="38" name="Bildplatzhalter 28">
            <a:extLst>
              <a:ext uri="{FF2B5EF4-FFF2-40B4-BE49-F238E27FC236}">
                <a16:creationId xmlns:a16="http://schemas.microsoft.com/office/drawing/2014/main" id="{C12FA490-6B8B-4ADF-9899-2D08091D63ED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3673242" y="4438870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39" name="Textplatzhalter 33">
            <a:extLst>
              <a:ext uri="{FF2B5EF4-FFF2-40B4-BE49-F238E27FC236}">
                <a16:creationId xmlns:a16="http://schemas.microsoft.com/office/drawing/2014/main" id="{15347CD8-E29D-472E-BC1E-8E60C4D686F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3673241" y="5731072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0" name="Grafik 10">
            <a:extLst>
              <a:ext uri="{FF2B5EF4-FFF2-40B4-BE49-F238E27FC236}">
                <a16:creationId xmlns:a16="http://schemas.microsoft.com/office/drawing/2014/main" id="{82C6E8A8-7CB5-4288-A2AF-4A0C3E3299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192214" y="4262866"/>
            <a:ext cx="1201850" cy="1197662"/>
          </a:xfrm>
          <a:prstGeom prst="rect">
            <a:avLst/>
          </a:prstGeom>
        </p:spPr>
      </p:pic>
      <p:sp>
        <p:nvSpPr>
          <p:cNvPr id="41" name="Bildplatzhalter 28">
            <a:extLst>
              <a:ext uri="{FF2B5EF4-FFF2-40B4-BE49-F238E27FC236}">
                <a16:creationId xmlns:a16="http://schemas.microsoft.com/office/drawing/2014/main" id="{17425A02-8E54-433B-BCF0-76EAD803F7DD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6566149" y="4456860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42" name="Textplatzhalter 33">
            <a:extLst>
              <a:ext uri="{FF2B5EF4-FFF2-40B4-BE49-F238E27FC236}">
                <a16:creationId xmlns:a16="http://schemas.microsoft.com/office/drawing/2014/main" id="{F559445B-97A9-4C42-8CE4-4E32942915F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6566148" y="5749062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  <p:pic>
        <p:nvPicPr>
          <p:cNvPr id="43" name="Grafik 10">
            <a:extLst>
              <a:ext uri="{FF2B5EF4-FFF2-40B4-BE49-F238E27FC236}">
                <a16:creationId xmlns:a16="http://schemas.microsoft.com/office/drawing/2014/main" id="{ABCE11E4-5395-426D-AB6B-A2BFEBEEFC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085122" y="4262866"/>
            <a:ext cx="1201850" cy="1197662"/>
          </a:xfrm>
          <a:prstGeom prst="rect">
            <a:avLst/>
          </a:prstGeom>
        </p:spPr>
      </p:pic>
      <p:sp>
        <p:nvSpPr>
          <p:cNvPr id="44" name="Bildplatzhalter 28">
            <a:extLst>
              <a:ext uri="{FF2B5EF4-FFF2-40B4-BE49-F238E27FC236}">
                <a16:creationId xmlns:a16="http://schemas.microsoft.com/office/drawing/2014/main" id="{1F806266-FFC6-4061-A15E-4EC47DA3DF9A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459057" y="4456860"/>
            <a:ext cx="1196258" cy="1196258"/>
          </a:xfrm>
          <a:prstGeom prst="ellipse">
            <a:avLst/>
          </a:prstGeom>
          <a:solidFill>
            <a:schemeClr val="accent5"/>
          </a:solidFill>
        </p:spPr>
        <p:txBody>
          <a:bodyPr/>
          <a:lstStyle>
            <a:lvl1pPr>
              <a:defRPr/>
            </a:lvl1pPr>
          </a:lstStyle>
          <a:p>
            <a:r>
              <a:rPr lang="de-CH" dirty="0"/>
              <a:t>Bild einfügen</a:t>
            </a:r>
          </a:p>
        </p:txBody>
      </p:sp>
      <p:sp>
        <p:nvSpPr>
          <p:cNvPr id="45" name="Textplatzhalter 33">
            <a:extLst>
              <a:ext uri="{FF2B5EF4-FFF2-40B4-BE49-F238E27FC236}">
                <a16:creationId xmlns:a16="http://schemas.microsoft.com/office/drawing/2014/main" id="{DE4F6413-5CF3-48EF-B06E-045E77BB0B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9459056" y="5749062"/>
            <a:ext cx="2322576" cy="803448"/>
          </a:xfrm>
        </p:spPr>
        <p:txBody>
          <a:bodyPr/>
          <a:lstStyle>
            <a:lvl1pPr>
              <a:spcBef>
                <a:spcPts val="600"/>
              </a:spcBef>
              <a:defRPr sz="1400" b="1">
                <a:solidFill>
                  <a:schemeClr val="accent1"/>
                </a:solidFill>
              </a:defRPr>
            </a:lvl1pPr>
            <a:lvl2pPr>
              <a:spcBef>
                <a:spcPts val="600"/>
              </a:spcBef>
              <a:defRPr sz="1000" b="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val="36603658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47C9BA-7A1F-4C2B-906B-419E598A74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987" y="727075"/>
            <a:ext cx="11376025" cy="4644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de-DE" noProof="0"/>
              <a:t>Mastertitelformat bearbeiten</a:t>
            </a:r>
            <a:endParaRPr lang="de-CH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8042F1-4AE8-4E2C-96D8-3837B31573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07987" y="1670049"/>
            <a:ext cx="11376025" cy="48852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EB74A32-4062-4825-BACD-0CA851D1DF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7988" y="296864"/>
            <a:ext cx="4427181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l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r>
              <a:rPr lang="en-US"/>
              <a:t>Titel der Präsentation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BA2283-E54F-4E92-9C92-573739FF95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24014" y="296864"/>
            <a:ext cx="360001" cy="360001"/>
          </a:xfrm>
          <a:prstGeom prst="ellipse">
            <a:avLst/>
          </a:prstGeom>
          <a:solidFill>
            <a:schemeClr val="accent5"/>
          </a:solidFill>
        </p:spPr>
        <p:txBody>
          <a:bodyPr lIns="0" tIns="0" rIns="0" bIns="0" anchor="ctr"/>
          <a:lstStyle>
            <a:lvl1pPr algn="ctr">
              <a:defRPr lang="de-CH" sz="1000" smtClean="0">
                <a:solidFill>
                  <a:schemeClr val="accent1"/>
                </a:solidFill>
              </a:defRPr>
            </a:lvl1pPr>
          </a:lstStyle>
          <a:p>
            <a:fld id="{C84AB057-EB88-472B-8529-B85DE59EC8B3}" type="slidenum">
              <a:rPr lang="de-CH" smtClean="0"/>
              <a:pPr/>
              <a:t>‹N°›</a:t>
            </a:fld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815555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4" r:id="rId6"/>
    <p:sldLayoutId id="2147483661" r:id="rId7"/>
    <p:sldLayoutId id="2147483667" r:id="rId8"/>
    <p:sldLayoutId id="2147483668" r:id="rId9"/>
    <p:sldLayoutId id="2147483662" r:id="rId10"/>
    <p:sldLayoutId id="2147483663" r:id="rId11"/>
    <p:sldLayoutId id="2147483665" r:id="rId12"/>
    <p:sldLayoutId id="2147483666" r:id="rId13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de-CH" sz="3600" b="1" kern="1200" cap="all" dirty="0">
          <a:solidFill>
            <a:schemeClr val="accent1"/>
          </a:solidFill>
          <a:latin typeface="+mn-lt"/>
          <a:ea typeface="+mn-ea"/>
          <a:cs typeface="+mn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lang="de-CH" sz="20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lang="de-CH" sz="2000" b="1" kern="1200" noProof="0" dirty="0" smtClean="0">
          <a:solidFill>
            <a:schemeClr val="tx2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lang="de-CH" sz="20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lang="de-CH" sz="2000" kern="1200" noProof="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540000" indent="-180000" algn="l" defTabSz="914400" rtl="0" eaLnBrk="1" latinLnBrk="0" hangingPunct="1">
        <a:lnSpc>
          <a:spcPct val="10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kumimoji="0" lang="de-CH" sz="2000" b="0" i="1" u="none" strike="noStrike" kern="1200" cap="none" spc="0" normalizeH="0" baseline="0" noProof="0" dirty="0">
          <a:ln>
            <a:noFill/>
          </a:ln>
          <a:solidFill>
            <a:prstClr val="black"/>
          </a:solidFill>
          <a:effectLst/>
          <a:uLnTx/>
          <a:uFillTx/>
          <a:latin typeface="Akkurat"/>
          <a:ea typeface="+mn-ea"/>
          <a:cs typeface="+mn-cs"/>
        </a:defRPr>
      </a:lvl6pPr>
      <a:lvl7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kumimoji="0" lang="de-CH" sz="2000" u="none" strike="noStrike" kern="1200" cap="none" spc="0" normalizeH="0" baseline="0" noProof="0" dirty="0" smtClean="0">
          <a:ln>
            <a:noFill/>
          </a:ln>
          <a:solidFill>
            <a:schemeClr val="tx2"/>
          </a:solidFill>
          <a:effectLst/>
          <a:uLnTx/>
          <a:uFillTx/>
          <a:latin typeface="Akkurat"/>
          <a:ea typeface="+mn-ea"/>
          <a:cs typeface="+mn-cs"/>
        </a:defRPr>
      </a:lvl7pPr>
      <a:lvl8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kumimoji="0" lang="de-CH" sz="3600" u="none" strike="noStrike" kern="1200" cap="none" spc="0" normalizeH="0" baseline="0" noProof="0" dirty="0" smtClean="0">
          <a:ln>
            <a:noFill/>
          </a:ln>
          <a:solidFill>
            <a:schemeClr val="tx2"/>
          </a:solidFill>
          <a:effectLst/>
          <a:uLnTx/>
          <a:uFillTx/>
          <a:latin typeface="Akkurat"/>
          <a:ea typeface="+mn-ea"/>
          <a:cs typeface="+mn-cs"/>
        </a:defRPr>
      </a:lvl8pPr>
      <a:lvl9pPr marL="0" indent="0" algn="l" defTabSz="914400" rtl="0" eaLnBrk="1" latinLnBrk="0" hangingPunct="1">
        <a:lnSpc>
          <a:spcPct val="100000"/>
        </a:lnSpc>
        <a:spcBef>
          <a:spcPts val="1200"/>
        </a:spcBef>
        <a:buFont typeface="Arial" panose="020B0604020202020204" pitchFamily="34" charset="0"/>
        <a:buNone/>
        <a:defRPr kumimoji="0" lang="de-CH" sz="3600" i="1" u="none" strike="noStrike" kern="1200" cap="none" spc="0" normalizeH="0" baseline="0" noProof="0" dirty="0">
          <a:ln>
            <a:noFill/>
          </a:ln>
          <a:solidFill>
            <a:schemeClr val="tx1"/>
          </a:solidFill>
          <a:effectLst/>
          <a:uLnTx/>
          <a:uFillTx/>
          <a:latin typeface="Akkura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6" userDrawn="1">
          <p15:clr>
            <a:srgbClr val="F26B43"/>
          </p15:clr>
        </p15:guide>
        <p15:guide id="4" pos="7423" userDrawn="1">
          <p15:clr>
            <a:srgbClr val="F26B43"/>
          </p15:clr>
        </p15:guide>
        <p15:guide id="6" orient="horz" pos="4130" userDrawn="1">
          <p15:clr>
            <a:srgbClr val="F26B43"/>
          </p15:clr>
        </p15:guide>
        <p15:guide id="7" orient="horz" pos="1051" userDrawn="1">
          <p15:clr>
            <a:srgbClr val="F26B43"/>
          </p15:clr>
        </p15:guide>
        <p15:guide id="8" orient="horz" pos="4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g"/><Relationship Id="rId2" Type="http://schemas.openxmlformats.org/officeDocument/2006/relationships/image" Target="../media/image26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5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g"/><Relationship Id="rId2" Type="http://schemas.openxmlformats.org/officeDocument/2006/relationships/image" Target="../media/image30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33.jpg"/><Relationship Id="rId4" Type="http://schemas.openxmlformats.org/officeDocument/2006/relationships/image" Target="../media/image32.jp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jp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customXml" Target="../ink/ink6.xml"/><Relationship Id="rId3" Type="http://schemas.openxmlformats.org/officeDocument/2006/relationships/customXml" Target="../ink/ink1.xml"/><Relationship Id="rId7" Type="http://schemas.openxmlformats.org/officeDocument/2006/relationships/customXml" Target="../ink/ink3.xml"/><Relationship Id="rId12" Type="http://schemas.openxmlformats.org/officeDocument/2006/relationships/image" Target="../media/image29.png"/><Relationship Id="rId2" Type="http://schemas.openxmlformats.org/officeDocument/2006/relationships/image" Target="../media/image35.jpg"/><Relationship Id="rId16" Type="http://schemas.openxmlformats.org/officeDocument/2006/relationships/image" Target="../media/image37.jp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6.png"/><Relationship Id="rId11" Type="http://schemas.openxmlformats.org/officeDocument/2006/relationships/customXml" Target="../ink/ink5.xml"/><Relationship Id="rId5" Type="http://schemas.openxmlformats.org/officeDocument/2006/relationships/customXml" Target="../ink/ink2.xml"/><Relationship Id="rId15" Type="http://schemas.openxmlformats.org/officeDocument/2006/relationships/image" Target="../media/image36.jpg"/><Relationship Id="rId10" Type="http://schemas.openxmlformats.org/officeDocument/2006/relationships/image" Target="../media/image28.png"/><Relationship Id="rId4" Type="http://schemas.openxmlformats.org/officeDocument/2006/relationships/image" Target="../media/image25.png"/><Relationship Id="rId9" Type="http://schemas.openxmlformats.org/officeDocument/2006/relationships/customXml" Target="../ink/ink4.xml"/><Relationship Id="rId14" Type="http://schemas.openxmlformats.org/officeDocument/2006/relationships/image" Target="../media/image30.png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jpg"/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jpg"/><Relationship Id="rId1" Type="http://schemas.openxmlformats.org/officeDocument/2006/relationships/slideLayout" Target="../slideLayouts/slideLayout5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jpg"/><Relationship Id="rId1" Type="http://schemas.openxmlformats.org/officeDocument/2006/relationships/slideLayout" Target="../slideLayouts/slideLayout5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image" Target="../media/image41.jpg"/><Relationship Id="rId1" Type="http://schemas.openxmlformats.org/officeDocument/2006/relationships/slideLayout" Target="../slideLayouts/slideLayout5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9.jpg"/><Relationship Id="rId4" Type="http://schemas.openxmlformats.org/officeDocument/2006/relationships/image" Target="../media/image18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2.jpg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2CA52B5A-7D5F-4EE0-9ABB-C084253270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4400709"/>
          </a:xfrm>
          <a:prstGeom prst="rect">
            <a:avLst/>
          </a:prstGeom>
        </p:spPr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AD8E-822B-8A0A-FF93-C3C3226A0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81628-4410-6868-BC00-B79E254756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pPr algn="ctr"/>
            <a:r>
              <a:rPr lang="de-CH" sz="2500" dirty="0"/>
              <a:t>Orthopädie</a:t>
            </a:r>
          </a:p>
          <a:p>
            <a:pPr algn="ctr"/>
            <a:r>
              <a:rPr lang="de-CH" sz="2500" dirty="0" err="1"/>
              <a:t>Red</a:t>
            </a:r>
            <a:r>
              <a:rPr lang="de-CH" sz="2500" dirty="0"/>
              <a:t> </a:t>
            </a:r>
            <a:r>
              <a:rPr lang="de-CH" sz="2500" dirty="0" err="1"/>
              <a:t>flags</a:t>
            </a:r>
            <a:endParaRPr lang="de-CH" sz="2500" dirty="0"/>
          </a:p>
          <a:p>
            <a:pPr algn="ctr"/>
            <a:r>
              <a:rPr lang="de-CH" sz="2500" dirty="0"/>
              <a:t>MRI Indikationen</a:t>
            </a:r>
          </a:p>
          <a:p>
            <a:pPr algn="ctr"/>
            <a:r>
              <a:rPr lang="de-CH" sz="2500" dirty="0"/>
              <a:t>wann zum/zur </a:t>
            </a:r>
            <a:r>
              <a:rPr lang="de-CH" sz="2500" dirty="0" err="1"/>
              <a:t>Spezialist:in</a:t>
            </a:r>
            <a:endParaRPr lang="de-CH" sz="25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68A74B-3303-9987-A2C7-F31E7E44E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1691B-85F5-7072-12FE-2EF65A6011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249700" y="2775419"/>
            <a:ext cx="2913388" cy="2915208"/>
          </a:xfrm>
        </p:spPr>
        <p:txBody>
          <a:bodyPr/>
          <a:lstStyle/>
          <a:p>
            <a:pPr algn="ctr"/>
            <a:r>
              <a:rPr lang="de-CH" dirty="0"/>
              <a:t>Matthias Hollatz </a:t>
            </a:r>
            <a:r>
              <a:rPr lang="de-CH" sz="1200" dirty="0"/>
              <a:t>Leitender Arzt Orthopädie/Traumatologie Schwerpunkt Knie         Spital Thun</a:t>
            </a:r>
          </a:p>
        </p:txBody>
      </p:sp>
    </p:spTree>
    <p:extLst>
      <p:ext uri="{BB962C8B-B14F-4D97-AF65-F5344CB8AC3E}">
        <p14:creationId xmlns:p14="http://schemas.microsoft.com/office/powerpoint/2010/main" val="28915692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0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442E06A-5CC1-4ED6-ACB3-54F9D68EC5D7}"/>
              </a:ext>
            </a:extLst>
          </p:cNvPr>
          <p:cNvSpPr/>
          <p:nvPr/>
        </p:nvSpPr>
        <p:spPr>
          <a:xfrm>
            <a:off x="718457" y="1423851"/>
            <a:ext cx="8840322" cy="229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400" dirty="0"/>
              <a:t>40-jährige Patientin mit rechtsseitigen Unterschenkelschmerzen, Leistenschmerzen und Hüftschmerzen seit 3-6 Monaten unter Belastung (Sitzen und Treppensteigen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CH" sz="14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9CA930-435B-45EF-A8EB-ABF849E624D1}"/>
              </a:ext>
            </a:extLst>
          </p:cNvPr>
          <p:cNvSpPr/>
          <p:nvPr/>
        </p:nvSpPr>
        <p:spPr>
          <a:xfrm>
            <a:off x="718457" y="3955290"/>
            <a:ext cx="8840322" cy="229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>
                <a:solidFill>
                  <a:schemeClr val="tx1"/>
                </a:solidFill>
              </a:rPr>
              <a:t>BEFUN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Flüssiges Gangbild mit orthograder Stellung der Knie und Füss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Leichte </a:t>
            </a:r>
            <a:r>
              <a:rPr lang="de-CH" sz="1400" dirty="0" err="1">
                <a:solidFill>
                  <a:schemeClr val="tx1"/>
                </a:solidFill>
              </a:rPr>
              <a:t>Varusstellung</a:t>
            </a:r>
            <a:r>
              <a:rPr lang="de-CH" sz="1400" dirty="0">
                <a:solidFill>
                  <a:schemeClr val="tx1"/>
                </a:solidFill>
              </a:rPr>
              <a:t> Knie beidsei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Hüftgelenksbeweglichkeit rechtsseitig mit Flexion/Extension 105/0/10°. Innen-/Aussenrotation in 90° Flexion 20/0/50°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Schmerzen beim anteriorer </a:t>
            </a:r>
            <a:r>
              <a:rPr lang="de-CH" sz="1400" dirty="0" err="1">
                <a:solidFill>
                  <a:schemeClr val="tx1"/>
                </a:solidFill>
              </a:rPr>
              <a:t>Impingement</a:t>
            </a:r>
            <a:r>
              <a:rPr lang="de-CH" sz="1400" dirty="0">
                <a:solidFill>
                  <a:schemeClr val="tx1"/>
                </a:solidFill>
              </a:rPr>
              <a:t>-Test (Flexion/Innenrotation) mit reproduzierbaren Leistenschmerze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Hüftabduktoren und </a:t>
            </a:r>
            <a:r>
              <a:rPr lang="de-CH" sz="1400" dirty="0" err="1">
                <a:solidFill>
                  <a:schemeClr val="tx1"/>
                </a:solidFill>
              </a:rPr>
              <a:t>Hüftflektoren</a:t>
            </a:r>
            <a:r>
              <a:rPr lang="de-CH" sz="1400" dirty="0">
                <a:solidFill>
                  <a:schemeClr val="tx1"/>
                </a:solidFill>
              </a:rPr>
              <a:t> kräftig. </a:t>
            </a:r>
            <a:r>
              <a:rPr lang="de-CH" sz="1400" dirty="0" err="1">
                <a:solidFill>
                  <a:schemeClr val="tx1"/>
                </a:solidFill>
              </a:rPr>
              <a:t>Posteriorer</a:t>
            </a:r>
            <a:r>
              <a:rPr lang="de-CH" sz="1400" dirty="0">
                <a:solidFill>
                  <a:schemeClr val="tx1"/>
                </a:solidFill>
              </a:rPr>
              <a:t> Labrum-Provokationstest negativ. </a:t>
            </a:r>
            <a:r>
              <a:rPr lang="de-CH" sz="1400" dirty="0" err="1">
                <a:solidFill>
                  <a:schemeClr val="tx1"/>
                </a:solidFill>
              </a:rPr>
              <a:t>Psoaszeichen</a:t>
            </a:r>
            <a:r>
              <a:rPr lang="de-CH" sz="1400" dirty="0">
                <a:solidFill>
                  <a:schemeClr val="tx1"/>
                </a:solidFill>
              </a:rPr>
              <a:t> negativ. Lasègue negativ. </a:t>
            </a:r>
          </a:p>
          <a:p>
            <a:endParaRPr lang="de-CH" sz="10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AF6C35EE-57A8-4601-A9AD-C2F24A33AE0C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7591233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1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1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BBC5D0E1-C175-4780-86D4-10749056EC9E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7" y="1636163"/>
            <a:ext cx="9143350" cy="2466710"/>
          </a:xfr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39B68417-1B4D-4F6B-97BA-0B12CAD5C6DD}"/>
              </a:ext>
            </a:extLst>
          </p:cNvPr>
          <p:cNvSpPr/>
          <p:nvPr/>
        </p:nvSpPr>
        <p:spPr>
          <a:xfrm>
            <a:off x="407988" y="4299480"/>
            <a:ext cx="801244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MRI Hüfte rechts nativ (ohne Kontrastmittel)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unauffällige Darstellung der Symphyse und der Hüftmuskulat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Zwei kleine Zysten am Kopf-Halsübergang anter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Knorpelverhältnisse und Labrum soweit zu beurteilen, ohne höhergradige Läsion 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6435052B-B912-4C8F-A299-EC6146434A73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72B0548D-FD24-4590-80F0-0EB8EF7AA4BF}"/>
              </a:ext>
            </a:extLst>
          </p:cNvPr>
          <p:cNvSpPr/>
          <p:nvPr/>
        </p:nvSpPr>
        <p:spPr>
          <a:xfrm>
            <a:off x="415008" y="5699058"/>
            <a:ext cx="8840322" cy="99277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Ein MRI der Hüfte/Becken, der LWS sowie Ultraschall und neurologische Untersuchung ohne Patholog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Orale </a:t>
            </a:r>
            <a:r>
              <a:rPr lang="de-CH" sz="1400" dirty="0" err="1"/>
              <a:t>Kortisonstosstherapie</a:t>
            </a:r>
            <a:r>
              <a:rPr lang="de-CH" sz="1400" dirty="0"/>
              <a:t> hat geholfen gegen die Unterschenkelschmerzen und anfänglich auch gegen die Leistenschmerzen</a:t>
            </a:r>
          </a:p>
        </p:txBody>
      </p:sp>
    </p:spTree>
    <p:extLst>
      <p:ext uri="{BB962C8B-B14F-4D97-AF65-F5344CB8AC3E}">
        <p14:creationId xmlns:p14="http://schemas.microsoft.com/office/powerpoint/2010/main" val="41916738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9" grpId="0"/>
      <p:bldP spid="11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1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2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10" name="Inhaltsplatzhalter 9">
            <a:extLst>
              <a:ext uri="{FF2B5EF4-FFF2-40B4-BE49-F238E27FC236}">
                <a16:creationId xmlns:a16="http://schemas.microsoft.com/office/drawing/2014/main" id="{87825387-7C12-4F73-8A36-F6FA4F41EB1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3880" y="1423039"/>
            <a:ext cx="4601101" cy="3866784"/>
          </a:xfrm>
        </p:spPr>
      </p:pic>
      <p:pic>
        <p:nvPicPr>
          <p:cNvPr id="14" name="Grafik 13">
            <a:extLst>
              <a:ext uri="{FF2B5EF4-FFF2-40B4-BE49-F238E27FC236}">
                <a16:creationId xmlns:a16="http://schemas.microsoft.com/office/drawing/2014/main" id="{7E2844A4-8B27-4860-91BD-E35A883E23D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23389" y="1979978"/>
            <a:ext cx="4306952" cy="2812978"/>
          </a:xfrm>
          <a:prstGeom prst="rect">
            <a:avLst/>
          </a:prstGeom>
        </p:spPr>
      </p:pic>
      <p:sp>
        <p:nvSpPr>
          <p:cNvPr id="4" name="Rechteck 3">
            <a:extLst>
              <a:ext uri="{FF2B5EF4-FFF2-40B4-BE49-F238E27FC236}">
                <a16:creationId xmlns:a16="http://schemas.microsoft.com/office/drawing/2014/main" id="{767B266F-C639-4D3A-BD93-5FC2B1DAFA04}"/>
              </a:ext>
            </a:extLst>
          </p:cNvPr>
          <p:cNvSpPr/>
          <p:nvPr/>
        </p:nvSpPr>
        <p:spPr>
          <a:xfrm>
            <a:off x="407987" y="5394168"/>
            <a:ext cx="996033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Becken tiefzentriert und Hüfte axial recht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Erhaltener Gelenkspalt beidsei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Kleine Knochenzyste, resp. </a:t>
            </a:r>
            <a:r>
              <a:rPr lang="de-CH" dirty="0" err="1"/>
              <a:t>herniation</a:t>
            </a:r>
            <a:r>
              <a:rPr lang="de-CH" dirty="0"/>
              <a:t> </a:t>
            </a:r>
            <a:r>
              <a:rPr lang="de-CH" dirty="0" err="1"/>
              <a:t>pits</a:t>
            </a:r>
            <a:r>
              <a:rPr lang="de-CH" dirty="0"/>
              <a:t> am Kopf-Halsüberga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Keine Hüftdysplasie (CE-Winkel 30°, Anteriore und </a:t>
            </a:r>
            <a:r>
              <a:rPr lang="de-CH" dirty="0" err="1"/>
              <a:t>posteriore</a:t>
            </a:r>
            <a:r>
              <a:rPr lang="de-CH" dirty="0"/>
              <a:t> </a:t>
            </a:r>
            <a:r>
              <a:rPr lang="de-CH" dirty="0" err="1"/>
              <a:t>Azetabulumüberdachung</a:t>
            </a:r>
            <a:r>
              <a:rPr lang="de-CH" dirty="0"/>
              <a:t> in der Norm)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59C86C72-CE57-44F8-982B-C6808D8321C1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0066314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11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1 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3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D72F6E4-1129-4E8B-96AB-870CFACDBAB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90927" y="1595065"/>
            <a:ext cx="3276698" cy="2735923"/>
          </a:xfrm>
          <a:prstGeom prst="rect">
            <a:avLst/>
          </a:prstGeom>
        </p:spPr>
      </p:pic>
      <p:pic>
        <p:nvPicPr>
          <p:cNvPr id="16" name="Inhaltsplatzhalter 15">
            <a:extLst>
              <a:ext uri="{FF2B5EF4-FFF2-40B4-BE49-F238E27FC236}">
                <a16:creationId xmlns:a16="http://schemas.microsoft.com/office/drawing/2014/main" id="{535C62E9-BA42-4533-B478-112C0910D794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6084" y="1526145"/>
            <a:ext cx="7507268" cy="2804843"/>
          </a:xfrm>
        </p:spPr>
      </p:pic>
      <p:sp>
        <p:nvSpPr>
          <p:cNvPr id="17" name="Textfeld 16">
            <a:extLst>
              <a:ext uri="{FF2B5EF4-FFF2-40B4-BE49-F238E27FC236}">
                <a16:creationId xmlns:a16="http://schemas.microsoft.com/office/drawing/2014/main" id="{0A62C566-BF3A-4877-91C6-C81359E03497}"/>
              </a:ext>
            </a:extLst>
          </p:cNvPr>
          <p:cNvSpPr txBox="1"/>
          <p:nvPr/>
        </p:nvSpPr>
        <p:spPr>
          <a:xfrm>
            <a:off x="8466159" y="4522378"/>
            <a:ext cx="3317853" cy="32993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1400" dirty="0"/>
              <a:t>Hip Symposium Bern – </a:t>
            </a:r>
            <a:r>
              <a:rPr lang="de-CH" sz="1400" dirty="0" err="1"/>
              <a:t>Arthro</a:t>
            </a:r>
            <a:r>
              <a:rPr lang="de-CH" sz="1400" dirty="0"/>
              <a:t>-MRI </a:t>
            </a:r>
            <a:r>
              <a:rPr lang="de-CH" sz="1400" dirty="0" err="1"/>
              <a:t>of</a:t>
            </a:r>
            <a:r>
              <a:rPr lang="de-CH" sz="1400" dirty="0"/>
              <a:t> </a:t>
            </a:r>
            <a:r>
              <a:rPr lang="de-CH" sz="1400" dirty="0" err="1"/>
              <a:t>the</a:t>
            </a:r>
            <a:r>
              <a:rPr lang="de-CH" sz="1400" dirty="0"/>
              <a:t> Hip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F2D60D23-7AA4-486B-8B62-487EA5287158}"/>
              </a:ext>
            </a:extLst>
          </p:cNvPr>
          <p:cNvSpPr txBox="1"/>
          <p:nvPr/>
        </p:nvSpPr>
        <p:spPr>
          <a:xfrm>
            <a:off x="186084" y="4548253"/>
            <a:ext cx="7507268" cy="221035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dirty="0" err="1"/>
              <a:t>Arthro</a:t>
            </a:r>
            <a:r>
              <a:rPr lang="de-CH" sz="2000" dirty="0"/>
              <a:t> MRI Hüfte rechts mit radiären Schichten und Rotationsmessung von Femur und Tibi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Am </a:t>
            </a:r>
            <a:r>
              <a:rPr lang="de-CH" sz="1600" dirty="0" err="1"/>
              <a:t>anterosuperioren</a:t>
            </a:r>
            <a:r>
              <a:rPr lang="de-CH" sz="1600" dirty="0"/>
              <a:t> Kopf-/Halsübergang kleine Zyste in Form eines </a:t>
            </a:r>
            <a:r>
              <a:rPr lang="de-CH" sz="1600" dirty="0" err="1"/>
              <a:t>herniation</a:t>
            </a:r>
            <a:r>
              <a:rPr lang="de-CH" sz="1600" dirty="0"/>
              <a:t> </a:t>
            </a:r>
            <a:r>
              <a:rPr lang="de-CH" sz="1600" dirty="0" err="1"/>
              <a:t>pits</a:t>
            </a:r>
            <a:r>
              <a:rPr lang="de-CH" sz="1600" dirty="0"/>
              <a:t>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Leichte Offset-Störung Kopf-/Halsübergang </a:t>
            </a:r>
            <a:r>
              <a:rPr lang="de-CH" sz="1600" dirty="0" err="1"/>
              <a:t>antero</a:t>
            </a:r>
            <a:r>
              <a:rPr lang="de-CH" sz="1600" dirty="0"/>
              <a:t>-superi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Korrespondierende anteriore Unregelmässigkeit des Labrum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vereinzelter Unregelmässigkeit des </a:t>
            </a:r>
            <a:r>
              <a:rPr lang="de-CH" sz="1600" dirty="0" err="1"/>
              <a:t>azetabulären</a:t>
            </a:r>
            <a:r>
              <a:rPr lang="de-CH" sz="1600" dirty="0"/>
              <a:t> Knorpels (leichtes Teppichboden-Phänomen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Femorale Antetorsion nach der Waidelich-Methode rechts 23°, links 19° </a:t>
            </a:r>
          </a:p>
          <a:p>
            <a:pPr algn="l"/>
            <a:endParaRPr lang="de-CH" sz="2000" dirty="0"/>
          </a:p>
          <a:p>
            <a:pPr algn="l"/>
            <a:endParaRPr lang="de-CH" sz="2000" dirty="0"/>
          </a:p>
        </p:txBody>
      </p:sp>
    </p:spTree>
    <p:extLst>
      <p:ext uri="{BB962C8B-B14F-4D97-AF65-F5344CB8AC3E}">
        <p14:creationId xmlns:p14="http://schemas.microsoft.com/office/powerpoint/2010/main" val="4951636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/>
      <p:bldP spid="4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4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C8E7FB0-7567-438A-8F3E-FDEDDB3F834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Primäre Diagnostik RÖNTGEN! Beckenübersicht und Hüfte axial bei jung und al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 err="1"/>
              <a:t>Zum:r</a:t>
            </a:r>
            <a:r>
              <a:rPr lang="de-CH" dirty="0"/>
              <a:t> </a:t>
            </a:r>
            <a:r>
              <a:rPr lang="de-CH" dirty="0" err="1"/>
              <a:t>Spezialist:in</a:t>
            </a:r>
            <a:r>
              <a:rPr lang="de-CH" dirty="0"/>
              <a:t> vor MRI Diagnostik anstreb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Wenn MRI, dann ARTHRO-MRI (Kontrastmittel wird intraartikulär gespritzt) zur Beurteilung des Knorpels und des Labru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Im Alter von Adoleszenz bis 45 Jahre: ARTHRO-MRI mit radiären Schichten und Rotationsmessung von Femur und Tibia (Beurteilung </a:t>
            </a:r>
            <a:r>
              <a:rPr lang="de-CH" dirty="0" err="1"/>
              <a:t>Hüftimpingement</a:t>
            </a:r>
            <a:r>
              <a:rPr lang="de-CH" dirty="0"/>
              <a:t> und Rotationsfehl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Bei ausstrahlenden Schmerzen an </a:t>
            </a:r>
            <a:r>
              <a:rPr lang="de-CH" dirty="0" err="1"/>
              <a:t>vertebrogene</a:t>
            </a:r>
            <a:r>
              <a:rPr lang="de-CH" dirty="0"/>
              <a:t> Ursache denk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90433469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AD8E-822B-8A0A-FF93-C3C3226A0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81628-4410-6868-BC00-B79E254756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pPr algn="ctr"/>
            <a:r>
              <a:rPr lang="de-CH" sz="5400" dirty="0"/>
              <a:t>Schulter</a:t>
            </a:r>
          </a:p>
          <a:p>
            <a:pPr algn="ctr"/>
            <a:r>
              <a:rPr lang="de-CH" sz="2500" dirty="0" err="1"/>
              <a:t>Red</a:t>
            </a:r>
            <a:r>
              <a:rPr lang="de-CH" sz="2500" dirty="0"/>
              <a:t> </a:t>
            </a:r>
            <a:r>
              <a:rPr lang="de-CH" sz="2500" dirty="0" err="1"/>
              <a:t>flags</a:t>
            </a:r>
            <a:endParaRPr lang="de-CH" sz="2500" dirty="0"/>
          </a:p>
          <a:p>
            <a:pPr algn="ctr"/>
            <a:r>
              <a:rPr lang="de-CH" sz="2500" dirty="0"/>
              <a:t>MRI Indikationen</a:t>
            </a:r>
          </a:p>
          <a:p>
            <a:pPr algn="ctr"/>
            <a:r>
              <a:rPr lang="de-CH" sz="2500" dirty="0"/>
              <a:t>wann zum/zur </a:t>
            </a:r>
            <a:r>
              <a:rPr lang="de-CH" sz="2500" dirty="0" err="1"/>
              <a:t>Spezialist:in</a:t>
            </a:r>
            <a:endParaRPr lang="de-CH" sz="25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68A74B-3303-9987-A2C7-F31E7E44E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1691B-85F5-7072-12FE-2EF65A6011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249700" y="2775419"/>
            <a:ext cx="2913388" cy="2915208"/>
          </a:xfrm>
        </p:spPr>
        <p:txBody>
          <a:bodyPr/>
          <a:lstStyle/>
          <a:p>
            <a:pPr algn="ctr"/>
            <a:r>
              <a:rPr lang="de-CH" dirty="0"/>
              <a:t>Matthias Hollatz </a:t>
            </a:r>
            <a:r>
              <a:rPr lang="de-CH" sz="1200" dirty="0"/>
              <a:t>Leitender Arzt Orthopädie/Traumatologie Schwerpunkt Knie         Spital Thun</a:t>
            </a:r>
          </a:p>
        </p:txBody>
      </p:sp>
    </p:spTree>
    <p:extLst>
      <p:ext uri="{BB962C8B-B14F-4D97-AF65-F5344CB8AC3E}">
        <p14:creationId xmlns:p14="http://schemas.microsoft.com/office/powerpoint/2010/main" val="316530261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Schulter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6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442E06A-5CC1-4ED6-ACB3-54F9D68EC5D7}"/>
              </a:ext>
            </a:extLst>
          </p:cNvPr>
          <p:cNvSpPr/>
          <p:nvPr/>
        </p:nvSpPr>
        <p:spPr>
          <a:xfrm>
            <a:off x="718457" y="1423851"/>
            <a:ext cx="8840322" cy="229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60jährige Patientin mit Sturz auf die rechte Schulter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Schmerzen im oberen Drittel des rechten Oberarms </a:t>
            </a:r>
            <a:endParaRPr lang="de-CH" sz="20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9CA930-435B-45EF-A8EB-ABF849E624D1}"/>
              </a:ext>
            </a:extLst>
          </p:cNvPr>
          <p:cNvSpPr/>
          <p:nvPr/>
        </p:nvSpPr>
        <p:spPr>
          <a:xfrm>
            <a:off x="718457" y="3918027"/>
            <a:ext cx="8840322" cy="229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>
                <a:solidFill>
                  <a:schemeClr val="tx1"/>
                </a:solidFill>
              </a:rPr>
              <a:t>BEFUND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Starke </a:t>
            </a:r>
            <a:r>
              <a:rPr lang="de-CH" sz="2000" dirty="0" err="1">
                <a:solidFill>
                  <a:schemeClr val="tx1"/>
                </a:solidFill>
              </a:rPr>
              <a:t>Druckdolenz</a:t>
            </a:r>
            <a:r>
              <a:rPr lang="de-CH" sz="2000" dirty="0">
                <a:solidFill>
                  <a:schemeClr val="tx1"/>
                </a:solidFill>
              </a:rPr>
              <a:t> am proximalen Humerus, eher ventral im </a:t>
            </a:r>
            <a:r>
              <a:rPr lang="de-CH" sz="2000" dirty="0" err="1">
                <a:solidFill>
                  <a:schemeClr val="tx1"/>
                </a:solidFill>
              </a:rPr>
              <a:t>Bizepsbereich</a:t>
            </a:r>
            <a:endParaRPr lang="de-CH" sz="20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Weitere Schulteruntersuchung nicht möglich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0E2E7259-29F1-4A1E-994D-2F35A0B14D3E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3044183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9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Schulter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7</a:t>
            </a:fld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796855-FEF3-FB1C-F272-A7270531ED6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indent="-342900">
              <a:buFontTx/>
              <a:buChar char="-"/>
            </a:pPr>
            <a:endParaRPr lang="de-CH" dirty="0"/>
          </a:p>
          <a:p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53FEF13C-2D13-4320-9204-93A92FA6A46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7" y="1261684"/>
            <a:ext cx="5269244" cy="4503171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FC7EDA0-71B3-4F15-876B-FDD7364CB421}"/>
              </a:ext>
            </a:extLst>
          </p:cNvPr>
          <p:cNvSpPr txBox="1"/>
          <p:nvPr/>
        </p:nvSpPr>
        <p:spPr>
          <a:xfrm>
            <a:off x="407987" y="5952279"/>
            <a:ext cx="4427182" cy="71416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dirty="0"/>
              <a:t>Schulter </a:t>
            </a:r>
            <a:r>
              <a:rPr lang="de-CH" sz="2000" dirty="0" err="1"/>
              <a:t>ap</a:t>
            </a:r>
            <a:r>
              <a:rPr lang="de-CH" sz="2000" dirty="0"/>
              <a:t> und Neer rechts: 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/>
              <a:t>Keine ossäre Läsion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0F8B311-0809-4D94-9CD2-6C6B3D40B46F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4278413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1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Schulter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8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FC7EDA0-71B3-4F15-876B-FDD7364CB421}"/>
              </a:ext>
            </a:extLst>
          </p:cNvPr>
          <p:cNvSpPr txBox="1"/>
          <p:nvPr/>
        </p:nvSpPr>
        <p:spPr>
          <a:xfrm>
            <a:off x="552804" y="5203073"/>
            <a:ext cx="8869491" cy="10466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dirty="0"/>
              <a:t>Ultraschall Schulter rechts: 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 Verdacht auf Ruptur der </a:t>
            </a:r>
            <a:r>
              <a:rPr lang="de-CH" dirty="0" err="1"/>
              <a:t>Subskapularissehne</a:t>
            </a:r>
            <a:r>
              <a:rPr lang="de-CH" dirty="0"/>
              <a:t> mit medialer Luxation der langen Bizepssehne ("</a:t>
            </a:r>
            <a:r>
              <a:rPr lang="de-CH" dirty="0" err="1"/>
              <a:t>empty</a:t>
            </a:r>
            <a:r>
              <a:rPr lang="de-CH" dirty="0"/>
              <a:t> </a:t>
            </a:r>
            <a:r>
              <a:rPr lang="de-CH" dirty="0" err="1"/>
              <a:t>bicipital</a:t>
            </a:r>
            <a:r>
              <a:rPr lang="de-CH" dirty="0"/>
              <a:t> groove") </a:t>
            </a:r>
            <a:endParaRPr lang="de-CH" sz="2000" dirty="0"/>
          </a:p>
        </p:txBody>
      </p:sp>
      <p:pic>
        <p:nvPicPr>
          <p:cNvPr id="13" name="Inhaltsplatzhalter 12">
            <a:extLst>
              <a:ext uri="{FF2B5EF4-FFF2-40B4-BE49-F238E27FC236}">
                <a16:creationId xmlns:a16="http://schemas.microsoft.com/office/drawing/2014/main" id="{E9AC8C00-3525-4602-B4E9-D0975640B165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7" y="1654927"/>
            <a:ext cx="4572000" cy="3038475"/>
          </a:xfrm>
        </p:spPr>
      </p:pic>
      <p:sp>
        <p:nvSpPr>
          <p:cNvPr id="14" name="Textfeld 13">
            <a:extLst>
              <a:ext uri="{FF2B5EF4-FFF2-40B4-BE49-F238E27FC236}">
                <a16:creationId xmlns:a16="http://schemas.microsoft.com/office/drawing/2014/main" id="{8A4B7DEE-F51D-4004-8AF5-358EF5B0502A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5976405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Schulter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19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FC7EDA0-71B3-4F15-876B-FDD7364CB421}"/>
              </a:ext>
            </a:extLst>
          </p:cNvPr>
          <p:cNvSpPr txBox="1"/>
          <p:nvPr/>
        </p:nvSpPr>
        <p:spPr>
          <a:xfrm>
            <a:off x="689288" y="5261999"/>
            <a:ext cx="8869491" cy="1046652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dirty="0" err="1"/>
              <a:t>Arthro</a:t>
            </a:r>
            <a:r>
              <a:rPr lang="de-CH" sz="2000" dirty="0"/>
              <a:t> MRI Schulter rechts: 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komplette Ruptur der </a:t>
            </a:r>
            <a:r>
              <a:rPr lang="de-CH" dirty="0" err="1"/>
              <a:t>Subscapularissehne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2000" dirty="0"/>
              <a:t>Luxation der langen Bizepssehne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212C133-8BFA-44B2-B7C9-9B71445F06F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361" y="1423851"/>
            <a:ext cx="1918974" cy="1929145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0398B3D7-F9AF-47E0-85D3-10BC69C0EE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902" y="3995153"/>
            <a:ext cx="2645783" cy="2761996"/>
          </a:xfrm>
          <a:prstGeom prst="rect">
            <a:avLst/>
          </a:prstGeom>
        </p:spPr>
      </p:pic>
      <p:pic>
        <p:nvPicPr>
          <p:cNvPr id="22" name="Grafik 21">
            <a:extLst>
              <a:ext uri="{FF2B5EF4-FFF2-40B4-BE49-F238E27FC236}">
                <a16:creationId xmlns:a16="http://schemas.microsoft.com/office/drawing/2014/main" id="{C46B7040-FCFA-4A12-9018-1CB04B40C6E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12902" y="1423851"/>
            <a:ext cx="2645783" cy="2420113"/>
          </a:xfrm>
          <a:prstGeom prst="rect">
            <a:avLst/>
          </a:prstGeom>
        </p:spPr>
      </p:pic>
      <p:pic>
        <p:nvPicPr>
          <p:cNvPr id="24" name="Grafik 23">
            <a:extLst>
              <a:ext uri="{FF2B5EF4-FFF2-40B4-BE49-F238E27FC236}">
                <a16:creationId xmlns:a16="http://schemas.microsoft.com/office/drawing/2014/main" id="{2DD04D42-5329-4376-B1B6-BBF5FE834C8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3989" y="1423851"/>
            <a:ext cx="3824330" cy="3335375"/>
          </a:xfrm>
          <a:prstGeom prst="rect">
            <a:avLst/>
          </a:prstGeom>
        </p:spPr>
      </p:pic>
      <p:sp>
        <p:nvSpPr>
          <p:cNvPr id="25" name="Textfeld 24">
            <a:extLst>
              <a:ext uri="{FF2B5EF4-FFF2-40B4-BE49-F238E27FC236}">
                <a16:creationId xmlns:a16="http://schemas.microsoft.com/office/drawing/2014/main" id="{2204946F-8DEA-498B-8684-897BF2ACC437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12738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AD8E-822B-8A0A-FF93-C3C3226A0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81628-4410-6868-BC00-B79E254756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pPr algn="ctr"/>
            <a:r>
              <a:rPr lang="de-CH" sz="6000" dirty="0"/>
              <a:t>Knie</a:t>
            </a:r>
          </a:p>
          <a:p>
            <a:pPr algn="ctr"/>
            <a:r>
              <a:rPr lang="de-CH" sz="2500" dirty="0" err="1"/>
              <a:t>Red</a:t>
            </a:r>
            <a:r>
              <a:rPr lang="de-CH" sz="2500" dirty="0"/>
              <a:t> </a:t>
            </a:r>
            <a:r>
              <a:rPr lang="de-CH" sz="2500" dirty="0" err="1"/>
              <a:t>flags</a:t>
            </a:r>
            <a:endParaRPr lang="de-CH" sz="2500" dirty="0"/>
          </a:p>
          <a:p>
            <a:pPr algn="ctr"/>
            <a:r>
              <a:rPr lang="de-CH" sz="2500" dirty="0"/>
              <a:t>MRI Indikationen</a:t>
            </a:r>
          </a:p>
          <a:p>
            <a:pPr algn="ctr"/>
            <a:r>
              <a:rPr lang="de-CH" sz="2500" dirty="0"/>
              <a:t>wann zum/zur </a:t>
            </a:r>
            <a:r>
              <a:rPr lang="de-CH" sz="2500" dirty="0" err="1"/>
              <a:t>Spezialist:in</a:t>
            </a:r>
            <a:endParaRPr lang="de-CH" sz="25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68A74B-3303-9987-A2C7-F31E7E44E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1691B-85F5-7072-12FE-2EF65A6011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249700" y="2775419"/>
            <a:ext cx="2913388" cy="2915208"/>
          </a:xfrm>
        </p:spPr>
        <p:txBody>
          <a:bodyPr/>
          <a:lstStyle/>
          <a:p>
            <a:pPr algn="ctr"/>
            <a:r>
              <a:rPr lang="de-CH" dirty="0"/>
              <a:t>Matthias Hollatz </a:t>
            </a:r>
            <a:r>
              <a:rPr lang="de-CH" sz="1200" dirty="0"/>
              <a:t>Leitender Arzt Orthopädie/Traumatologie Schwerpunkt Knie         Spital Thun</a:t>
            </a:r>
          </a:p>
        </p:txBody>
      </p:sp>
    </p:spTree>
    <p:extLst>
      <p:ext uri="{BB962C8B-B14F-4D97-AF65-F5344CB8AC3E}">
        <p14:creationId xmlns:p14="http://schemas.microsoft.com/office/powerpoint/2010/main" val="38003772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Schulter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0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C8E7FB0-7567-438A-8F3E-FDEDDB3F8344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8" y="1670049"/>
            <a:ext cx="9435727" cy="48852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Primäre Standard Untersuchung ist das Röntgen in 2 bis 3 Eben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Bei bleibender Pseudoparalyse (3 Wochen) nach Trauma (der Arm kann nicht aktiv über 50° abduziert werden) Bildgebung der </a:t>
            </a:r>
            <a:r>
              <a:rPr lang="de-CH" dirty="0" err="1"/>
              <a:t>Rotatorenmanschette</a:t>
            </a:r>
            <a:r>
              <a:rPr lang="de-CH" dirty="0"/>
              <a:t> durchfüh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Goldstandard zur Beurteilung der </a:t>
            </a:r>
            <a:r>
              <a:rPr lang="de-CH" dirty="0" err="1"/>
              <a:t>Rotatorenmanschette</a:t>
            </a:r>
            <a:r>
              <a:rPr lang="de-CH" dirty="0"/>
              <a:t> ist ARTHRO-MRI  (Kontrastmittel wird intraartikulär gespritzt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Bei Subscapularis Sehnen Rupturen – zügige Zuweisung </a:t>
            </a:r>
            <a:r>
              <a:rPr lang="de-CH" dirty="0" err="1"/>
              <a:t>zum:r</a:t>
            </a:r>
            <a:r>
              <a:rPr lang="de-CH" dirty="0"/>
              <a:t> </a:t>
            </a:r>
            <a:r>
              <a:rPr lang="de-CH" dirty="0" err="1"/>
              <a:t>Spezialist:in</a:t>
            </a:r>
            <a:r>
              <a:rPr lang="de-CH" dirty="0"/>
              <a:t> 	              (Die Sehne retrahieren sich und der Muskel verfette innerhalb von 6 Wochen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Zum/zur </a:t>
            </a:r>
            <a:r>
              <a:rPr lang="de-CH" dirty="0" err="1"/>
              <a:t>Spezialist:in</a:t>
            </a:r>
            <a:r>
              <a:rPr lang="de-CH" dirty="0"/>
              <a:t> 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Pseudoparalyse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 err="1"/>
              <a:t>Frozen</a:t>
            </a:r>
            <a:r>
              <a:rPr lang="de-CH" dirty="0"/>
              <a:t> </a:t>
            </a:r>
            <a:r>
              <a:rPr lang="de-CH" dirty="0" err="1"/>
              <a:t>shoulder</a:t>
            </a:r>
            <a:endParaRPr lang="de-CH" dirty="0"/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Frische </a:t>
            </a:r>
            <a:r>
              <a:rPr lang="de-CH" dirty="0" err="1"/>
              <a:t>Rotatorenmanschettenläsionen</a:t>
            </a:r>
            <a:endParaRPr lang="de-CH" dirty="0"/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Luxationen und Frakturen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3485009726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1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442E06A-5CC1-4ED6-ACB3-54F9D68EC5D7}"/>
              </a:ext>
            </a:extLst>
          </p:cNvPr>
          <p:cNvSpPr/>
          <p:nvPr/>
        </p:nvSpPr>
        <p:spPr>
          <a:xfrm>
            <a:off x="718457" y="1423851"/>
            <a:ext cx="8840322" cy="229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40jährige Patienti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Misstritt im Alltag mit Verdrehung des Kniegelenk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Direkt einschiessender Schmerz mit Blockierung des Kniegelenk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Moderater sportlicher Anspruch, moderate körperliche Arbeit</a:t>
            </a:r>
          </a:p>
          <a:p>
            <a:endParaRPr lang="de-CH" sz="20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9CA930-435B-45EF-A8EB-ABF849E624D1}"/>
              </a:ext>
            </a:extLst>
          </p:cNvPr>
          <p:cNvSpPr/>
          <p:nvPr/>
        </p:nvSpPr>
        <p:spPr>
          <a:xfrm>
            <a:off x="718457" y="3918027"/>
            <a:ext cx="8840322" cy="229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>
                <a:solidFill>
                  <a:schemeClr val="tx1"/>
                </a:solidFill>
              </a:rPr>
              <a:t>BEF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b="1" dirty="0">
                <a:solidFill>
                  <a:schemeClr val="tx1"/>
                </a:solidFill>
              </a:rPr>
              <a:t>Leichte Schwellung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b="1" dirty="0">
                <a:solidFill>
                  <a:schemeClr val="tx1"/>
                </a:solidFill>
              </a:rPr>
              <a:t>Streckdefizit von 20° mit federnden Anschlag, Flexion 80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b="1" dirty="0">
                <a:solidFill>
                  <a:schemeClr val="tx1"/>
                </a:solidFill>
              </a:rPr>
              <a:t>Seitenbänder stabi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b="1" dirty="0">
                <a:solidFill>
                  <a:schemeClr val="tx1"/>
                </a:solidFill>
              </a:rPr>
              <a:t>Kreuzbänder nicht suffizient zu untersuch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D3D4A40-1BFC-465E-9B70-4107F6BB14B2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82771292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4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2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929E098-20BC-4DB6-9D92-6EC7F00E0637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  <p:pic>
        <p:nvPicPr>
          <p:cNvPr id="9" name="Grafik 8">
            <a:extLst>
              <a:ext uri="{FF2B5EF4-FFF2-40B4-BE49-F238E27FC236}">
                <a16:creationId xmlns:a16="http://schemas.microsoft.com/office/drawing/2014/main" id="{C777DB2A-BEFD-4BE9-9012-65FC233C002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7" y="1423851"/>
            <a:ext cx="7112400" cy="4459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82544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3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929E098-20BC-4DB6-9D92-6EC7F00E0637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A95B6901-B4DE-4633-BA73-BA8FA0B92A8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2820" y="1242322"/>
            <a:ext cx="7813224" cy="3206049"/>
          </a:xfrm>
          <a:prstGeom prst="rect">
            <a:avLst/>
          </a:prstGeom>
        </p:spPr>
      </p:pic>
      <mc:AlternateContent xmlns:mc="http://schemas.openxmlformats.org/markup-compatibility/2006" xmlns:p14="http://schemas.microsoft.com/office/powerpoint/2010/main">
        <mc:Choice Requires="p14">
          <p:contentPart p14:bwMode="auto" r:id="rId3">
            <p14:nvContentPartPr>
              <p14:cNvPr id="10" name="Freihand 9">
                <a:extLst>
                  <a:ext uri="{FF2B5EF4-FFF2-40B4-BE49-F238E27FC236}">
                    <a16:creationId xmlns:a16="http://schemas.microsoft.com/office/drawing/2014/main" id="{162A5E84-3691-4D4C-9624-4105070B8140}"/>
                  </a:ext>
                </a:extLst>
              </p14:cNvPr>
              <p14:cNvContentPartPr/>
              <p14:nvPr/>
            </p14:nvContentPartPr>
            <p14:xfrm>
              <a:off x="1237985" y="2374083"/>
              <a:ext cx="515314" cy="490377"/>
            </p14:xfrm>
          </p:contentPart>
        </mc:Choice>
        <mc:Fallback xmlns="">
          <p:pic>
            <p:nvPicPr>
              <p:cNvPr id="10" name="Freihand 9">
                <a:extLst>
                  <a:ext uri="{FF2B5EF4-FFF2-40B4-BE49-F238E27FC236}">
                    <a16:creationId xmlns:a16="http://schemas.microsoft.com/office/drawing/2014/main" id="{162A5E84-3691-4D4C-9624-4105070B8140}"/>
                  </a:ext>
                </a:extLst>
              </p:cNvPr>
              <p:cNvPicPr/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228989" y="2365082"/>
                <a:ext cx="532947" cy="508019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5">
            <p14:nvContentPartPr>
              <p14:cNvPr id="11" name="Freihand 10">
                <a:extLst>
                  <a:ext uri="{FF2B5EF4-FFF2-40B4-BE49-F238E27FC236}">
                    <a16:creationId xmlns:a16="http://schemas.microsoft.com/office/drawing/2014/main" id="{B478D431-A502-40EB-9FDE-D23E28467247}"/>
                  </a:ext>
                </a:extLst>
              </p14:cNvPr>
              <p14:cNvContentPartPr/>
              <p14:nvPr/>
            </p14:nvContentPartPr>
            <p14:xfrm>
              <a:off x="3405287" y="2816260"/>
              <a:ext cx="131566" cy="96400"/>
            </p14:xfrm>
          </p:contentPart>
        </mc:Choice>
        <mc:Fallback xmlns="">
          <p:pic>
            <p:nvPicPr>
              <p:cNvPr id="11" name="Freihand 10">
                <a:extLst>
                  <a:ext uri="{FF2B5EF4-FFF2-40B4-BE49-F238E27FC236}">
                    <a16:creationId xmlns:a16="http://schemas.microsoft.com/office/drawing/2014/main" id="{B478D431-A502-40EB-9FDE-D23E28467247}"/>
                  </a:ext>
                </a:extLst>
              </p:cNvPr>
              <p:cNvPicPr/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3396300" y="2807234"/>
                <a:ext cx="149180" cy="11409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7">
            <p14:nvContentPartPr>
              <p14:cNvPr id="12" name="Freihand 11">
                <a:extLst>
                  <a:ext uri="{FF2B5EF4-FFF2-40B4-BE49-F238E27FC236}">
                    <a16:creationId xmlns:a16="http://schemas.microsoft.com/office/drawing/2014/main" id="{D775B7F7-2B80-4DEE-A9EE-5A3DE3E5E9B4}"/>
                  </a:ext>
                </a:extLst>
              </p14:cNvPr>
              <p14:cNvContentPartPr/>
              <p14:nvPr/>
            </p14:nvContentPartPr>
            <p14:xfrm>
              <a:off x="3755403" y="2714679"/>
              <a:ext cx="427837" cy="174292"/>
            </p14:xfrm>
          </p:contentPart>
        </mc:Choice>
        <mc:Fallback xmlns="">
          <p:pic>
            <p:nvPicPr>
              <p:cNvPr id="12" name="Freihand 11">
                <a:extLst>
                  <a:ext uri="{FF2B5EF4-FFF2-40B4-BE49-F238E27FC236}">
                    <a16:creationId xmlns:a16="http://schemas.microsoft.com/office/drawing/2014/main" id="{D775B7F7-2B80-4DEE-A9EE-5A3DE3E5E9B4}"/>
                  </a:ext>
                </a:extLst>
              </p:cNvPr>
              <p:cNvPicPr/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3746407" y="2705695"/>
                <a:ext cx="445469" cy="191901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9">
            <p14:nvContentPartPr>
              <p14:cNvPr id="13" name="Freihand 12">
                <a:extLst>
                  <a:ext uri="{FF2B5EF4-FFF2-40B4-BE49-F238E27FC236}">
                    <a16:creationId xmlns:a16="http://schemas.microsoft.com/office/drawing/2014/main" id="{0FDD8DF1-E385-488E-BB70-BE358CB3CBF3}"/>
                  </a:ext>
                </a:extLst>
              </p14:cNvPr>
              <p14:cNvContentPartPr/>
              <p14:nvPr/>
            </p14:nvContentPartPr>
            <p14:xfrm>
              <a:off x="4737465" y="2842736"/>
              <a:ext cx="382549" cy="96400"/>
            </p14:xfrm>
          </p:contentPart>
        </mc:Choice>
        <mc:Fallback xmlns="">
          <p:pic>
            <p:nvPicPr>
              <p:cNvPr id="13" name="Freihand 12">
                <a:extLst>
                  <a:ext uri="{FF2B5EF4-FFF2-40B4-BE49-F238E27FC236}">
                    <a16:creationId xmlns:a16="http://schemas.microsoft.com/office/drawing/2014/main" id="{0FDD8DF1-E385-488E-BB70-BE358CB3CBF3}"/>
                  </a:ext>
                </a:extLst>
              </p:cNvPr>
              <p:cNvPicPr/>
              <p:nvPr/>
            </p:nvPicPr>
            <p:blipFill>
              <a:blip r:embed="rId10"/>
              <a:stretch>
                <a:fillRect/>
              </a:stretch>
            </p:blipFill>
            <p:spPr>
              <a:xfrm>
                <a:off x="4718374" y="2823743"/>
                <a:ext cx="420372" cy="134028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1">
            <p14:nvContentPartPr>
              <p14:cNvPr id="15" name="Freihand 14">
                <a:extLst>
                  <a:ext uri="{FF2B5EF4-FFF2-40B4-BE49-F238E27FC236}">
                    <a16:creationId xmlns:a16="http://schemas.microsoft.com/office/drawing/2014/main" id="{B09552D1-FE4C-463C-8E56-DB98A69287AD}"/>
                  </a:ext>
                </a:extLst>
              </p14:cNvPr>
              <p14:cNvContentPartPr/>
              <p14:nvPr/>
            </p14:nvContentPartPr>
            <p14:xfrm>
              <a:off x="6185344" y="2199792"/>
              <a:ext cx="810088" cy="1038358"/>
            </p14:xfrm>
          </p:contentPart>
        </mc:Choice>
        <mc:Fallback xmlns="">
          <p:pic>
            <p:nvPicPr>
              <p:cNvPr id="15" name="Freihand 14">
                <a:extLst>
                  <a:ext uri="{FF2B5EF4-FFF2-40B4-BE49-F238E27FC236}">
                    <a16:creationId xmlns:a16="http://schemas.microsoft.com/office/drawing/2014/main" id="{B09552D1-FE4C-463C-8E56-DB98A69287AD}"/>
                  </a:ext>
                </a:extLst>
              </p:cNvPr>
              <p:cNvPicPr/>
              <p:nvPr/>
            </p:nvPicPr>
            <p:blipFill>
              <a:blip r:embed="rId12"/>
              <a:stretch>
                <a:fillRect/>
              </a:stretch>
            </p:blipFill>
            <p:spPr>
              <a:xfrm>
                <a:off x="6176347" y="2190794"/>
                <a:ext cx="827722" cy="1055994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p14="http://schemas.microsoft.com/office/powerpoint/2010/main">
        <mc:Choice Requires="p14">
          <p:contentPart p14:bwMode="auto" r:id="rId13">
            <p14:nvContentPartPr>
              <p14:cNvPr id="16" name="Freihand 15">
                <a:extLst>
                  <a:ext uri="{FF2B5EF4-FFF2-40B4-BE49-F238E27FC236}">
                    <a16:creationId xmlns:a16="http://schemas.microsoft.com/office/drawing/2014/main" id="{E5D210AB-5D7E-42BD-ADEA-1CF4F8EA4DE7}"/>
                  </a:ext>
                </a:extLst>
              </p14:cNvPr>
              <p14:cNvContentPartPr/>
              <p14:nvPr/>
            </p14:nvContentPartPr>
            <p14:xfrm>
              <a:off x="7122118" y="2466363"/>
              <a:ext cx="811023" cy="730270"/>
            </p14:xfrm>
          </p:contentPart>
        </mc:Choice>
        <mc:Fallback xmlns="">
          <p:pic>
            <p:nvPicPr>
              <p:cNvPr id="16" name="Freihand 15">
                <a:extLst>
                  <a:ext uri="{FF2B5EF4-FFF2-40B4-BE49-F238E27FC236}">
                    <a16:creationId xmlns:a16="http://schemas.microsoft.com/office/drawing/2014/main" id="{E5D210AB-5D7E-42BD-ADEA-1CF4F8EA4DE7}"/>
                  </a:ext>
                </a:extLst>
              </p:cNvPr>
              <p:cNvPicPr/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7103039" y="2447287"/>
                <a:ext cx="848820" cy="768061"/>
              </a:xfrm>
              <a:prstGeom prst="rect">
                <a:avLst/>
              </a:prstGeom>
            </p:spPr>
          </p:pic>
        </mc:Fallback>
      </mc:AlternateContent>
      <p:sp>
        <p:nvSpPr>
          <p:cNvPr id="17" name="Textfeld 16">
            <a:extLst>
              <a:ext uri="{FF2B5EF4-FFF2-40B4-BE49-F238E27FC236}">
                <a16:creationId xmlns:a16="http://schemas.microsoft.com/office/drawing/2014/main" id="{6A6066C2-4F08-438C-9769-198405AB545D}"/>
              </a:ext>
            </a:extLst>
          </p:cNvPr>
          <p:cNvSpPr txBox="1"/>
          <p:nvPr/>
        </p:nvSpPr>
        <p:spPr>
          <a:xfrm>
            <a:off x="382820" y="4512499"/>
            <a:ext cx="1090422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CH" sz="1400" dirty="0"/>
              <a:t>MRI Kni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Vordere Kreuzbandruptu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Korbhenkelläsion mit Gelenkseinklemmung</a:t>
            </a:r>
          </a:p>
          <a:p>
            <a:endParaRPr lang="de-CH" dirty="0"/>
          </a:p>
        </p:txBody>
      </p:sp>
      <p:pic>
        <p:nvPicPr>
          <p:cNvPr id="18" name="Grafik 17">
            <a:extLst>
              <a:ext uri="{FF2B5EF4-FFF2-40B4-BE49-F238E27FC236}">
                <a16:creationId xmlns:a16="http://schemas.microsoft.com/office/drawing/2014/main" id="{94286DB0-C06B-49AC-AD1B-912DC3218301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57740" y="5546446"/>
            <a:ext cx="1511581" cy="1168956"/>
          </a:xfrm>
          <a:prstGeom prst="rect">
            <a:avLst/>
          </a:prstGeom>
        </p:spPr>
      </p:pic>
      <p:pic>
        <p:nvPicPr>
          <p:cNvPr id="19" name="Grafik 18">
            <a:extLst>
              <a:ext uri="{FF2B5EF4-FFF2-40B4-BE49-F238E27FC236}">
                <a16:creationId xmlns:a16="http://schemas.microsoft.com/office/drawing/2014/main" id="{6FC21E27-0CD8-40FF-AD3A-167800676E0C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5400000">
            <a:off x="4216464" y="5511514"/>
            <a:ext cx="1390513" cy="1238821"/>
          </a:xfrm>
          <a:prstGeom prst="rect">
            <a:avLst/>
          </a:prstGeom>
        </p:spPr>
      </p:pic>
      <p:pic>
        <p:nvPicPr>
          <p:cNvPr id="20" name="Grafik 19">
            <a:extLst>
              <a:ext uri="{FF2B5EF4-FFF2-40B4-BE49-F238E27FC236}">
                <a16:creationId xmlns:a16="http://schemas.microsoft.com/office/drawing/2014/main" id="{8297C01F-52D0-4148-80E9-0EDD120A931D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12926" y="5330107"/>
            <a:ext cx="1554923" cy="13852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9382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9" fill="hold">
                      <p:stCondLst>
                        <p:cond delay="indefinite"/>
                      </p:stCondLst>
                      <p:childTnLst>
                        <p:par>
                          <p:cTn id="40" fill="hold">
                            <p:stCondLst>
                              <p:cond delay="0"/>
                            </p:stCondLst>
                            <p:childTnLst>
                              <p:par>
                                <p:cTn id="4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17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4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C8E7FB0-7567-438A-8F3E-FDEDDB3F834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800" dirty="0"/>
              <a:t>Primäre Standard Diagnostik ist Röntgen in 3 Ebenen </a:t>
            </a:r>
          </a:p>
          <a:p>
            <a:pPr marL="702900" lvl="3" indent="-342900"/>
            <a:r>
              <a:rPr lang="de-CH" sz="1800" dirty="0"/>
              <a:t>Bei Trauma mit Verdacht auf Fraktur: Knie </a:t>
            </a:r>
            <a:r>
              <a:rPr lang="de-CH" sz="1800" dirty="0" err="1"/>
              <a:t>ap</a:t>
            </a:r>
            <a:r>
              <a:rPr lang="de-CH" sz="1800" dirty="0"/>
              <a:t>, lateral und Patella tangential</a:t>
            </a:r>
          </a:p>
          <a:p>
            <a:pPr marL="702900" lvl="3" indent="-342900"/>
            <a:r>
              <a:rPr lang="de-CH" sz="1800" dirty="0"/>
              <a:t>Sonst Rosenbergaufnahme </a:t>
            </a:r>
            <a:r>
              <a:rPr lang="de-CH" sz="1800" dirty="0" err="1"/>
              <a:t>pa</a:t>
            </a:r>
            <a:r>
              <a:rPr lang="de-CH" sz="1800" dirty="0"/>
              <a:t> stehend, lateral und Patella tangentia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ei radiologischer Diagnose einer Arthrose – kein MRI (im speziellen macht dies der </a:t>
            </a:r>
            <a:r>
              <a:rPr lang="de-CH" sz="1800" b="0" dirty="0" err="1">
                <a:solidFill>
                  <a:schemeClr val="tx1"/>
                </a:solidFill>
              </a:rPr>
              <a:t>Spezialist:in</a:t>
            </a:r>
            <a:r>
              <a:rPr lang="de-CH" sz="1800" b="0" dirty="0">
                <a:solidFill>
                  <a:schemeClr val="tx1"/>
                </a:solidFill>
              </a:rPr>
              <a:t>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is zum 30.-40. Lebensjahr kann die MRI Diagnostik grosszügig gestellt werd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Junge </a:t>
            </a:r>
            <a:r>
              <a:rPr lang="de-CH" sz="1800" b="0" dirty="0" err="1">
                <a:solidFill>
                  <a:schemeClr val="tx1"/>
                </a:solidFill>
              </a:rPr>
              <a:t>Patient:innen</a:t>
            </a:r>
            <a:r>
              <a:rPr lang="de-CH" sz="1800" b="0" dirty="0">
                <a:solidFill>
                  <a:schemeClr val="tx1"/>
                </a:solidFill>
              </a:rPr>
              <a:t> mit Kniedistorsion (20 jährig) MRI anstreb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ei atraumatischen Knieschmerzen kann man primär abwart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ei atraumatischen medialen Meniskusläsionen kann man primär abwart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Zum/zur </a:t>
            </a:r>
            <a:r>
              <a:rPr lang="de-CH" sz="1800" b="0" dirty="0" err="1">
                <a:solidFill>
                  <a:schemeClr val="tx1"/>
                </a:solidFill>
              </a:rPr>
              <a:t>Spezialist:in</a:t>
            </a:r>
            <a:endParaRPr lang="de-CH" sz="1800" b="0" dirty="0">
              <a:solidFill>
                <a:schemeClr val="tx1"/>
              </a:solidFill>
            </a:endParaRPr>
          </a:p>
          <a:p>
            <a:pPr marL="702900" lvl="3" indent="-342900">
              <a:spcBef>
                <a:spcPts val="0"/>
              </a:spcBef>
            </a:pPr>
            <a:r>
              <a:rPr lang="de-CH" sz="1800" dirty="0"/>
              <a:t>T</a:t>
            </a:r>
            <a:r>
              <a:rPr lang="de-CH" sz="1800" b="0" dirty="0">
                <a:solidFill>
                  <a:schemeClr val="tx1"/>
                </a:solidFill>
              </a:rPr>
              <a:t>raumatische Meniskusläsionen</a:t>
            </a:r>
          </a:p>
          <a:p>
            <a:pPr marL="702900" lvl="3" indent="-342900">
              <a:spcBef>
                <a:spcPts val="0"/>
              </a:spcBef>
            </a:pPr>
            <a:r>
              <a:rPr lang="de-CH" sz="1800" b="0" dirty="0">
                <a:solidFill>
                  <a:schemeClr val="tx1"/>
                </a:solidFill>
              </a:rPr>
              <a:t>Meniskuskorbhenkelläsion</a:t>
            </a:r>
          </a:p>
          <a:p>
            <a:pPr marL="702900" lvl="3" indent="-342900">
              <a:spcBef>
                <a:spcPts val="0"/>
              </a:spcBef>
            </a:pPr>
            <a:r>
              <a:rPr lang="de-CH" sz="1800" b="0" dirty="0" err="1">
                <a:solidFill>
                  <a:schemeClr val="tx1"/>
                </a:solidFill>
              </a:rPr>
              <a:t>Ligamentäre</a:t>
            </a:r>
            <a:r>
              <a:rPr lang="de-CH" sz="1800" b="0" dirty="0">
                <a:solidFill>
                  <a:schemeClr val="tx1"/>
                </a:solidFill>
              </a:rPr>
              <a:t> Verletzungen</a:t>
            </a:r>
          </a:p>
          <a:p>
            <a:pPr marL="702900" lvl="3" indent="-342900">
              <a:spcBef>
                <a:spcPts val="0"/>
              </a:spcBef>
            </a:pPr>
            <a:r>
              <a:rPr lang="de-CH" sz="1800" dirty="0"/>
              <a:t>Luxationen und Frakturen</a:t>
            </a:r>
            <a:endParaRPr lang="de-CH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569148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5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442E06A-5CC1-4ED6-ACB3-54F9D68EC5D7}"/>
              </a:ext>
            </a:extLst>
          </p:cNvPr>
          <p:cNvSpPr/>
          <p:nvPr/>
        </p:nvSpPr>
        <p:spPr>
          <a:xfrm>
            <a:off x="718457" y="1423851"/>
            <a:ext cx="8840322" cy="229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57-jährige Patientin mit rechtsseitigen Leistenschmerzen bei Belastung (Laufen) seit 1.5 Jahr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Analgesie: </a:t>
            </a:r>
            <a:r>
              <a:rPr lang="de-CH" sz="2000" dirty="0" err="1"/>
              <a:t>Tilur</a:t>
            </a:r>
            <a:r>
              <a:rPr lang="de-CH" sz="2000" dirty="0"/>
              <a:t> in der Vergangenhei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Arbeit: zu 30% in der Pflege in einer Rehaklini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/>
              <a:t>Sportliche Aktivitäten: Wander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9CA930-435B-45EF-A8EB-ABF849E624D1}"/>
              </a:ext>
            </a:extLst>
          </p:cNvPr>
          <p:cNvSpPr/>
          <p:nvPr/>
        </p:nvSpPr>
        <p:spPr>
          <a:xfrm>
            <a:off x="718457" y="3918027"/>
            <a:ext cx="8840322" cy="229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>
                <a:solidFill>
                  <a:schemeClr val="tx1"/>
                </a:solidFill>
              </a:rPr>
              <a:t>BEFUN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Flüssiges Gangbild. Orthograde Stellung der Patellae und Füss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Hüfte rechts: Flexion/Extension 110/0/0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Innen-/Aussenrotation in 90° Flexion 50/0/70° wie auf der Gegenseite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Abduktion 50°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Reproduzierbare Leistenschmerzen bei Flexion/Innenrotation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tx1"/>
                </a:solidFill>
              </a:rPr>
              <a:t>Kein Aufrichteschmerz oder Hustenschmerz</a:t>
            </a:r>
            <a:endParaRPr lang="de-CH" sz="20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60CD84E-71BA-42A1-88AF-A05677CFCD18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32166153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9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6</a:t>
            </a:fld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796855-FEF3-FB1C-F272-A7270531ED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8" y="1670049"/>
            <a:ext cx="11376023" cy="4885200"/>
          </a:xfrm>
        </p:spPr>
        <p:txBody>
          <a:bodyPr/>
          <a:lstStyle/>
          <a:p>
            <a:pPr marL="342900" indent="-342900">
              <a:buFontTx/>
              <a:buChar char="-"/>
            </a:pPr>
            <a:endParaRPr lang="de-CH" dirty="0"/>
          </a:p>
          <a:p>
            <a:pPr marL="342900" indent="-342900">
              <a:buFontTx/>
              <a:buChar char="-"/>
            </a:pP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F8F920EE-5B66-4339-A165-C2CB8B92E35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992" y="1400408"/>
            <a:ext cx="9378170" cy="3627015"/>
          </a:xfrm>
          <a:prstGeom prst="rect">
            <a:avLst/>
          </a:prstGeom>
        </p:spPr>
      </p:pic>
      <p:sp>
        <p:nvSpPr>
          <p:cNvPr id="7" name="Rechteck 6">
            <a:extLst>
              <a:ext uri="{FF2B5EF4-FFF2-40B4-BE49-F238E27FC236}">
                <a16:creationId xmlns:a16="http://schemas.microsoft.com/office/drawing/2014/main" id="{18BD4778-B746-4E7A-84DD-369CFA0178BE}"/>
              </a:ext>
            </a:extLst>
          </p:cNvPr>
          <p:cNvSpPr/>
          <p:nvPr/>
        </p:nvSpPr>
        <p:spPr>
          <a:xfrm>
            <a:off x="203992" y="5300062"/>
            <a:ext cx="1178401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de-CH" dirty="0"/>
              <a:t>Becken tiefzentriert, Hüfte axial rechts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Beidseits vorhandener Gelenkspal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Hüftdysplasie mit CE-Winkel von 15° (Norm über 25°) </a:t>
            </a: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E34123AE-69B5-49DD-B7EB-84AF759399D6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  <p:cxnSp>
        <p:nvCxnSpPr>
          <p:cNvPr id="10" name="Gerader Verbinder 9">
            <a:extLst>
              <a:ext uri="{FF2B5EF4-FFF2-40B4-BE49-F238E27FC236}">
                <a16:creationId xmlns:a16="http://schemas.microsoft.com/office/drawing/2014/main" id="{74E187A6-CDB0-408D-B384-AF56BA3A0967}"/>
              </a:ext>
            </a:extLst>
          </p:cNvPr>
          <p:cNvCxnSpPr/>
          <p:nvPr/>
        </p:nvCxnSpPr>
        <p:spPr>
          <a:xfrm flipH="1" flipV="1">
            <a:off x="1040235" y="2390862"/>
            <a:ext cx="192947" cy="7046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1F855DCC-14B5-49DF-A309-8253F30222D0}"/>
              </a:ext>
            </a:extLst>
          </p:cNvPr>
          <p:cNvCxnSpPr/>
          <p:nvPr/>
        </p:nvCxnSpPr>
        <p:spPr>
          <a:xfrm flipV="1">
            <a:off x="1233182" y="2390862"/>
            <a:ext cx="0" cy="704676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feld 13">
            <a:extLst>
              <a:ext uri="{FF2B5EF4-FFF2-40B4-BE49-F238E27FC236}">
                <a16:creationId xmlns:a16="http://schemas.microsoft.com/office/drawing/2014/main" id="{5CF25F7D-2CBC-4139-B2D6-F72C45CCBC93}"/>
              </a:ext>
            </a:extLst>
          </p:cNvPr>
          <p:cNvSpPr txBox="1"/>
          <p:nvPr/>
        </p:nvSpPr>
        <p:spPr>
          <a:xfrm>
            <a:off x="979458" y="2017812"/>
            <a:ext cx="620595" cy="30791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b="1" dirty="0">
                <a:solidFill>
                  <a:srgbClr val="FF0000"/>
                </a:solidFill>
              </a:rPr>
              <a:t>15°</a:t>
            </a:r>
          </a:p>
        </p:txBody>
      </p:sp>
    </p:spTree>
    <p:extLst>
      <p:ext uri="{BB962C8B-B14F-4D97-AF65-F5344CB8AC3E}">
        <p14:creationId xmlns:p14="http://schemas.microsoft.com/office/powerpoint/2010/main" val="1490324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  <p:bldP spid="11" grpId="0"/>
      <p:bldP spid="14" grpId="0"/>
    </p:bld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Fall 2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7</a:t>
            </a:fld>
            <a:endParaRPr lang="de-CH" dirty="0"/>
          </a:p>
        </p:txBody>
      </p:sp>
      <p:pic>
        <p:nvPicPr>
          <p:cNvPr id="8" name="Inhaltsplatzhalter 7">
            <a:extLst>
              <a:ext uri="{FF2B5EF4-FFF2-40B4-BE49-F238E27FC236}">
                <a16:creationId xmlns:a16="http://schemas.microsoft.com/office/drawing/2014/main" id="{24765C5B-AA4E-4025-AAE2-5A11A118C703}"/>
              </a:ext>
            </a:extLst>
          </p:cNvPr>
          <p:cNvPicPr>
            <a:picLocks noGrp="1" noChangeAspect="1"/>
          </p:cNvPicPr>
          <p:nvPr>
            <p:ph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1453" y="1404683"/>
            <a:ext cx="9646215" cy="4643541"/>
          </a:xfrm>
        </p:spPr>
      </p:pic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6B2C91C1-871B-44AB-94A5-B01BC9C72C53}"/>
              </a:ext>
            </a:extLst>
          </p:cNvPr>
          <p:cNvSpPr txBox="1"/>
          <p:nvPr/>
        </p:nvSpPr>
        <p:spPr>
          <a:xfrm>
            <a:off x="1091453" y="6130924"/>
            <a:ext cx="10147264" cy="72707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dirty="0" err="1"/>
              <a:t>Arthro</a:t>
            </a:r>
            <a:r>
              <a:rPr lang="de-CH" sz="2000" dirty="0"/>
              <a:t> MRI Hüfte rechts: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/>
              <a:t> 4° Knorpelschaden </a:t>
            </a:r>
            <a:r>
              <a:rPr lang="de-CH" sz="2000" dirty="0" err="1"/>
              <a:t>anterosuperior</a:t>
            </a:r>
            <a:r>
              <a:rPr lang="de-CH" sz="2000" dirty="0"/>
              <a:t>; eingerissenes hypertrophes Labrum; </a:t>
            </a:r>
            <a:r>
              <a:rPr lang="de-CH" sz="2000" dirty="0" err="1"/>
              <a:t>Azetabulumzysten</a:t>
            </a:r>
            <a:endParaRPr lang="de-CH" sz="2000" dirty="0"/>
          </a:p>
          <a:p>
            <a:pPr algn="l"/>
            <a:endParaRPr lang="de-CH" sz="2000" dirty="0" err="1"/>
          </a:p>
        </p:txBody>
      </p:sp>
    </p:spTree>
    <p:extLst>
      <p:ext uri="{BB962C8B-B14F-4D97-AF65-F5344CB8AC3E}">
        <p14:creationId xmlns:p14="http://schemas.microsoft.com/office/powerpoint/2010/main" val="21036419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üfte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28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C8E7FB0-7567-438A-8F3E-FDEDDB3F834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Primäre Diagnostik RÖNTGEN! Beckenübersicht und Hüfte axial bei jung und al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 err="1"/>
              <a:t>Zum:r</a:t>
            </a:r>
            <a:r>
              <a:rPr lang="de-CH" dirty="0"/>
              <a:t> </a:t>
            </a:r>
            <a:r>
              <a:rPr lang="de-CH" dirty="0" err="1"/>
              <a:t>Spezialist:in</a:t>
            </a:r>
            <a:r>
              <a:rPr lang="de-CH" dirty="0"/>
              <a:t> vor weiterer MRI Diagnostik anstreb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Wenn MRI, dann ARTRO-MRI (Kontrastmittel wird intraartikulär gespritzt) zur Beurteilung des Knorpels und des Labrum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Im Alter von Adoleszenz bis 45 Jahre: ARTHRO-MRI mit radiären Schichten und Rotationsmessung von Femur und Tibia (Beurteilung </a:t>
            </a:r>
            <a:r>
              <a:rPr lang="de-CH" dirty="0" err="1"/>
              <a:t>Hüftimpingement</a:t>
            </a:r>
            <a:r>
              <a:rPr lang="de-CH" dirty="0"/>
              <a:t> und Rotationsfehler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Bei ausstrahlenden Schmerzen an </a:t>
            </a:r>
            <a:r>
              <a:rPr lang="de-CH" dirty="0" err="1"/>
              <a:t>vertebrogene</a:t>
            </a:r>
            <a:r>
              <a:rPr lang="de-CH" dirty="0"/>
              <a:t> Ursache denk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1203456179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AD8E-822B-8A0A-FF93-C3C3226A0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81628-4410-6868-BC00-B79E254756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pPr algn="ctr"/>
            <a:r>
              <a:rPr lang="de-CH" sz="4000" dirty="0"/>
              <a:t>Ellenbogen</a:t>
            </a:r>
          </a:p>
          <a:p>
            <a:pPr algn="ctr"/>
            <a:r>
              <a:rPr lang="de-CH" sz="2500" dirty="0" err="1"/>
              <a:t>Red</a:t>
            </a:r>
            <a:r>
              <a:rPr lang="de-CH" sz="2500" dirty="0"/>
              <a:t> </a:t>
            </a:r>
            <a:r>
              <a:rPr lang="de-CH" sz="2500" dirty="0" err="1"/>
              <a:t>flags</a:t>
            </a:r>
            <a:endParaRPr lang="de-CH" sz="2500" dirty="0"/>
          </a:p>
          <a:p>
            <a:pPr algn="ctr"/>
            <a:r>
              <a:rPr lang="de-CH" sz="2500" dirty="0"/>
              <a:t>MRI Indikationen</a:t>
            </a:r>
          </a:p>
          <a:p>
            <a:pPr algn="ctr"/>
            <a:r>
              <a:rPr lang="de-CH" sz="2500" dirty="0"/>
              <a:t>wann zum/zur </a:t>
            </a:r>
            <a:r>
              <a:rPr lang="de-CH" sz="2500" dirty="0" err="1"/>
              <a:t>Spezialist:in</a:t>
            </a:r>
            <a:endParaRPr lang="de-CH" sz="25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68A74B-3303-9987-A2C7-F31E7E44E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1691B-85F5-7072-12FE-2EF65A6011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249700" y="2775419"/>
            <a:ext cx="2913388" cy="2915208"/>
          </a:xfrm>
        </p:spPr>
        <p:txBody>
          <a:bodyPr/>
          <a:lstStyle/>
          <a:p>
            <a:pPr algn="ctr"/>
            <a:r>
              <a:rPr lang="de-CH" dirty="0"/>
              <a:t>Matthias Hollatz </a:t>
            </a:r>
            <a:r>
              <a:rPr lang="de-CH" sz="1200" dirty="0"/>
              <a:t>Leitender Arzt Orthopädie/Traumatologie Schwerpunkt Knie         Spital Thun</a:t>
            </a:r>
          </a:p>
        </p:txBody>
      </p:sp>
    </p:spTree>
    <p:extLst>
      <p:ext uri="{BB962C8B-B14F-4D97-AF65-F5344CB8AC3E}">
        <p14:creationId xmlns:p14="http://schemas.microsoft.com/office/powerpoint/2010/main" val="114078417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3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442E06A-5CC1-4ED6-ACB3-54F9D68EC5D7}"/>
              </a:ext>
            </a:extLst>
          </p:cNvPr>
          <p:cNvSpPr/>
          <p:nvPr/>
        </p:nvSpPr>
        <p:spPr>
          <a:xfrm>
            <a:off x="718457" y="1423851"/>
            <a:ext cx="8840322" cy="22990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57-jährige Patientin mit rechtsseitigen atraumatischen Knieschmerzen seit 1 Mona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Schmerzen medial unter Belast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NSAR-Analgesie ohne Besserung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Arbeitsunfähig aktuell als Küchenhilfe</a:t>
            </a:r>
          </a:p>
          <a:p>
            <a:endParaRPr lang="de-CH" sz="2000" dirty="0"/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9CA930-435B-45EF-A8EB-ABF849E624D1}"/>
              </a:ext>
            </a:extLst>
          </p:cNvPr>
          <p:cNvSpPr/>
          <p:nvPr/>
        </p:nvSpPr>
        <p:spPr>
          <a:xfrm>
            <a:off x="718457" y="3955290"/>
            <a:ext cx="8840322" cy="229906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>
                <a:solidFill>
                  <a:schemeClr val="tx1"/>
                </a:solidFill>
              </a:rPr>
              <a:t>BEF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solidFill>
                  <a:schemeClr val="tx1"/>
                </a:solidFill>
              </a:rPr>
              <a:t>Entlastungshinke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solidFill>
                  <a:schemeClr val="tx1"/>
                </a:solidFill>
              </a:rPr>
              <a:t>Deutliche Adipositas mit voluminösen Weichteilen am Kniegelen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solidFill>
                  <a:schemeClr val="tx1"/>
                </a:solidFill>
              </a:rPr>
              <a:t>Leichter intraartikulärer Ergus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solidFill>
                  <a:schemeClr val="tx1"/>
                </a:solidFill>
              </a:rPr>
              <a:t>Flexion/Extension 110/0/0°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>
                <a:solidFill>
                  <a:schemeClr val="tx1"/>
                </a:solidFill>
              </a:rPr>
              <a:t>Ligamentär</a:t>
            </a:r>
            <a:r>
              <a:rPr lang="de-CH" dirty="0">
                <a:solidFill>
                  <a:schemeClr val="tx1"/>
                </a:solidFill>
              </a:rPr>
              <a:t> stabi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>
                <a:solidFill>
                  <a:schemeClr val="tx1"/>
                </a:solidFill>
              </a:rPr>
              <a:t>Deutlicher medialer Kompressionsschmerz, leicht auch latera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 err="1">
                <a:solidFill>
                  <a:schemeClr val="tx1"/>
                </a:solidFill>
              </a:rPr>
              <a:t>Patellaverschieblichkeit</a:t>
            </a:r>
            <a:r>
              <a:rPr lang="de-CH" dirty="0">
                <a:solidFill>
                  <a:schemeClr val="tx1"/>
                </a:solidFill>
              </a:rPr>
              <a:t> indolent</a:t>
            </a:r>
            <a:endParaRPr lang="de-CH" sz="2000" b="1" dirty="0">
              <a:solidFill>
                <a:schemeClr val="tx1"/>
              </a:solidFill>
            </a:endParaRP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9D3D4A40-1BFC-465E-9B70-4107F6BB14B2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128804498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4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Ellenbogen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30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8" name="Rechteck 7">
            <a:extLst>
              <a:ext uri="{FF2B5EF4-FFF2-40B4-BE49-F238E27FC236}">
                <a16:creationId xmlns:a16="http://schemas.microsoft.com/office/drawing/2014/main" id="{B442E06A-5CC1-4ED6-ACB3-54F9D68EC5D7}"/>
              </a:ext>
            </a:extLst>
          </p:cNvPr>
          <p:cNvSpPr/>
          <p:nvPr/>
        </p:nvSpPr>
        <p:spPr>
          <a:xfrm>
            <a:off x="718457" y="1423852"/>
            <a:ext cx="8840322" cy="1210291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/>
              <a:t>ANAMES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64j Patien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/>
              <a:t>plötzliche Schmerzen und ein Zerrungsgefühl im Bereich des linken Oberarms beim Anheben einer Palette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149CA930-435B-45EF-A8EB-ABF849E624D1}"/>
              </a:ext>
            </a:extLst>
          </p:cNvPr>
          <p:cNvSpPr/>
          <p:nvPr/>
        </p:nvSpPr>
        <p:spPr>
          <a:xfrm>
            <a:off x="718457" y="2889234"/>
            <a:ext cx="8840322" cy="158515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CH" sz="2000" b="1" dirty="0">
                <a:solidFill>
                  <a:schemeClr val="tx1"/>
                </a:solidFill>
              </a:rPr>
              <a:t>BEFU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keine auslösbare </a:t>
            </a:r>
            <a:r>
              <a:rPr lang="de-CH" sz="1400" dirty="0" err="1">
                <a:solidFill>
                  <a:schemeClr val="tx1"/>
                </a:solidFill>
              </a:rPr>
              <a:t>Druckdolenz</a:t>
            </a:r>
            <a:endParaRPr lang="de-CH" sz="1400" dirty="0">
              <a:solidFill>
                <a:schemeClr val="tx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Ellenbogenflexion leicht schmerzhaft im Oberarm und Ellenbo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Vollständige Extension schmerzhaf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400" dirty="0">
                <a:solidFill>
                  <a:schemeClr val="tx1"/>
                </a:solidFill>
              </a:rPr>
              <a:t>Pro- und Supination frei </a:t>
            </a:r>
          </a:p>
          <a:p>
            <a:endParaRPr lang="de-CH" sz="2000" b="1" dirty="0">
              <a:solidFill>
                <a:schemeClr val="tx1"/>
              </a:solidFill>
            </a:endParaRPr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971F8D7C-0126-4150-A0AC-DC258C52D90A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  <p:sp>
        <p:nvSpPr>
          <p:cNvPr id="7" name="Textfeld 6">
            <a:extLst>
              <a:ext uri="{FF2B5EF4-FFF2-40B4-BE49-F238E27FC236}">
                <a16:creationId xmlns:a16="http://schemas.microsoft.com/office/drawing/2014/main" id="{FF3F54FC-5991-45D8-B6FA-E2374969D746}"/>
              </a:ext>
            </a:extLst>
          </p:cNvPr>
          <p:cNvSpPr txBox="1"/>
          <p:nvPr/>
        </p:nvSpPr>
        <p:spPr>
          <a:xfrm>
            <a:off x="4135772" y="34290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de-CH" sz="2000" dirty="0" err="1"/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C3282D51-1B93-4D3C-9CCB-C50FD780B241}"/>
              </a:ext>
            </a:extLst>
          </p:cNvPr>
          <p:cNvSpPr txBox="1"/>
          <p:nvPr/>
        </p:nvSpPr>
        <p:spPr>
          <a:xfrm>
            <a:off x="718457" y="4738638"/>
            <a:ext cx="8753436" cy="7306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/>
              <a:t>DIAGNOSE</a:t>
            </a:r>
            <a:r>
              <a:rPr lang="de-CH" sz="2000" dirty="0"/>
              <a:t> </a:t>
            </a:r>
          </a:p>
          <a:p>
            <a:r>
              <a:rPr lang="de-CH" sz="2000" dirty="0"/>
              <a:t>Verdacht auf Muskelfaserriss M. </a:t>
            </a:r>
            <a:r>
              <a:rPr lang="de-CH" sz="2000" dirty="0" err="1"/>
              <a:t>Biceps</a:t>
            </a:r>
            <a:r>
              <a:rPr lang="de-CH" sz="2000" dirty="0"/>
              <a:t> brachii links </a:t>
            </a:r>
          </a:p>
          <a:p>
            <a:endParaRPr lang="de-CH" sz="2000" dirty="0"/>
          </a:p>
          <a:p>
            <a:pPr algn="l"/>
            <a:endParaRPr lang="de-CH" sz="2000" dirty="0" err="1"/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4E71434F-6899-4644-B302-FF75680D7F25}"/>
              </a:ext>
            </a:extLst>
          </p:cNvPr>
          <p:cNvSpPr txBox="1"/>
          <p:nvPr/>
        </p:nvSpPr>
        <p:spPr>
          <a:xfrm>
            <a:off x="718457" y="5709378"/>
            <a:ext cx="8840322" cy="843094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/>
              <a:t>PROCEDERE</a:t>
            </a:r>
          </a:p>
          <a:p>
            <a:r>
              <a:rPr lang="de-CH" sz="2000" dirty="0"/>
              <a:t>Bitte um Nachkontrolle in der hausärztlichen Sprechstunde in circa 2 - 3 Tagen, falls keine vollständige Besserung eintritt</a:t>
            </a:r>
          </a:p>
          <a:p>
            <a:pPr algn="l"/>
            <a:endParaRPr lang="de-CH" sz="2000" dirty="0" err="1"/>
          </a:p>
        </p:txBody>
      </p:sp>
    </p:spTree>
    <p:extLst>
      <p:ext uri="{BB962C8B-B14F-4D97-AF65-F5344CB8AC3E}">
        <p14:creationId xmlns:p14="http://schemas.microsoft.com/office/powerpoint/2010/main" val="351628946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10" grpId="0" animBg="1"/>
      <p:bldP spid="9" grpId="0"/>
      <p:bldP spid="11" grpId="0"/>
      <p:bldP spid="12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Ellenbogen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31</a:t>
            </a:fld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796855-FEF3-FB1C-F272-A7270531ED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9" y="1670049"/>
            <a:ext cx="5897395" cy="2878097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Untersuchung bei Verdacht auf Ruptur der distalen Bizepssehne – Bizeps hook Test</a:t>
            </a:r>
          </a:p>
          <a:p>
            <a:pPr marL="702900" lvl="3" indent="-342900"/>
            <a:r>
              <a:rPr lang="de-CH" dirty="0"/>
              <a:t>Ellenbogen 90° beugen und supinieren</a:t>
            </a:r>
          </a:p>
          <a:p>
            <a:pPr marL="702900" lvl="3" indent="-342900"/>
            <a:r>
              <a:rPr lang="de-CH" dirty="0"/>
              <a:t>Flexion des Ellenbogens gegen Widerstand</a:t>
            </a:r>
          </a:p>
          <a:p>
            <a:pPr marL="702900" lvl="3" indent="-342900"/>
            <a:r>
              <a:rPr lang="de-CH" dirty="0"/>
              <a:t>Mit dem Zeigefinger von medial die lange Bizepssehne tasten</a:t>
            </a:r>
          </a:p>
          <a:p>
            <a:pPr marL="342900" indent="-342900">
              <a:buFontTx/>
              <a:buChar char="-"/>
            </a:pPr>
            <a:endParaRPr lang="de-CH" dirty="0"/>
          </a:p>
          <a:p>
            <a:pPr marL="342900" indent="-342900">
              <a:buFontTx/>
              <a:buChar char="-"/>
            </a:pPr>
            <a:endParaRPr lang="de-CH" dirty="0"/>
          </a:p>
          <a:p>
            <a:pPr marL="342900" indent="-342900">
              <a:buFontTx/>
              <a:buChar char="-"/>
            </a:pPr>
            <a:endParaRPr lang="de-CH" dirty="0"/>
          </a:p>
          <a:p>
            <a:r>
              <a:rPr lang="de-CH" dirty="0"/>
              <a:t> 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8496AA6B-51F8-4A59-B400-9A376CDED7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10689" y="1116724"/>
            <a:ext cx="3142841" cy="4434206"/>
          </a:xfrm>
          <a:prstGeom prst="rect">
            <a:avLst/>
          </a:prstGeom>
        </p:spPr>
      </p:pic>
      <p:sp>
        <p:nvSpPr>
          <p:cNvPr id="7" name="Textfeld 6">
            <a:extLst>
              <a:ext uri="{FF2B5EF4-FFF2-40B4-BE49-F238E27FC236}">
                <a16:creationId xmlns:a16="http://schemas.microsoft.com/office/drawing/2014/main" id="{A68200B9-512E-4C2C-8B7D-B3B473EB13F3}"/>
              </a:ext>
            </a:extLst>
          </p:cNvPr>
          <p:cNvSpPr txBox="1"/>
          <p:nvPr/>
        </p:nvSpPr>
        <p:spPr>
          <a:xfrm>
            <a:off x="7710689" y="5694002"/>
            <a:ext cx="3142841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1200" dirty="0"/>
              <a:t>Bizeps hook Test aus Untersuchungstechniken des Ellenbogen- und Handgelenkes Herausgeber: Ellenbogen- und Handgelenkskomitee der AGA in Zusammenarbeit mit dem Komitee Ellenbogen der DVSE</a:t>
            </a:r>
          </a:p>
          <a:p>
            <a:pPr algn="l"/>
            <a:endParaRPr lang="de-CH" sz="2000" dirty="0" err="1"/>
          </a:p>
        </p:txBody>
      </p:sp>
    </p:spTree>
    <p:extLst>
      <p:ext uri="{BB962C8B-B14F-4D97-AF65-F5344CB8AC3E}">
        <p14:creationId xmlns:p14="http://schemas.microsoft.com/office/powerpoint/2010/main" val="27948841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/>
      <p:bldP spid="7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Ellenbogen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32</a:t>
            </a:fld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796855-FEF3-FB1C-F272-A7270531ED6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de-CH" dirty="0"/>
              <a:t> </a:t>
            </a:r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  <a:p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79C30A0F-0ECE-4542-997F-6F1D603B7F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5357" y="1423203"/>
            <a:ext cx="8799623" cy="4011593"/>
          </a:xfrm>
          <a:prstGeom prst="rect">
            <a:avLst/>
          </a:prstGeom>
        </p:spPr>
      </p:pic>
      <p:sp>
        <p:nvSpPr>
          <p:cNvPr id="9" name="Textfeld 8">
            <a:extLst>
              <a:ext uri="{FF2B5EF4-FFF2-40B4-BE49-F238E27FC236}">
                <a16:creationId xmlns:a16="http://schemas.microsoft.com/office/drawing/2014/main" id="{C5D6C63D-7D8C-4B25-9E0D-9D4E96489DCD}"/>
              </a:ext>
            </a:extLst>
          </p:cNvPr>
          <p:cNvSpPr txBox="1"/>
          <p:nvPr/>
        </p:nvSpPr>
        <p:spPr>
          <a:xfrm>
            <a:off x="407987" y="5701085"/>
            <a:ext cx="9150792" cy="95643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2000" dirty="0"/>
              <a:t>FABS MRI Ellenbogen: das MRI wird in Flexion, Abduktion und Supination durchgeführt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/>
              <a:t>Nur für die konkrete Fragestellung nach distaler </a:t>
            </a:r>
            <a:r>
              <a:rPr lang="de-CH" sz="2000" dirty="0" err="1"/>
              <a:t>Bizepssehnenruptur</a:t>
            </a:r>
            <a:r>
              <a:rPr lang="de-CH" sz="2000" dirty="0"/>
              <a:t> sinnvoll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/>
              <a:t>70° Partialruptur der distalen Bizepssehne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/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B42C510F-6BC9-4D2C-BDDA-E90C58D3071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58779" y="1457764"/>
            <a:ext cx="2486025" cy="3124200"/>
          </a:xfrm>
          <a:prstGeom prst="rect">
            <a:avLst/>
          </a:prstGeom>
        </p:spPr>
      </p:pic>
      <p:sp>
        <p:nvSpPr>
          <p:cNvPr id="11" name="Textfeld 10">
            <a:extLst>
              <a:ext uri="{FF2B5EF4-FFF2-40B4-BE49-F238E27FC236}">
                <a16:creationId xmlns:a16="http://schemas.microsoft.com/office/drawing/2014/main" id="{B459A2DA-BDF3-4AB8-AABF-2D3215C28986}"/>
              </a:ext>
            </a:extLst>
          </p:cNvPr>
          <p:cNvSpPr txBox="1"/>
          <p:nvPr/>
        </p:nvSpPr>
        <p:spPr>
          <a:xfrm>
            <a:off x="9558779" y="4684236"/>
            <a:ext cx="2486025" cy="690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1000" dirty="0"/>
              <a:t>Technical </a:t>
            </a:r>
            <a:r>
              <a:rPr lang="de-CH" sz="1000" dirty="0" err="1"/>
              <a:t>innovation</a:t>
            </a:r>
            <a:r>
              <a:rPr lang="de-CH" sz="1000" dirty="0"/>
              <a:t> - </a:t>
            </a:r>
            <a:r>
              <a:rPr lang="en-US" sz="1000" dirty="0"/>
              <a:t>Optimal Positioning for MRI of the Distal </a:t>
            </a:r>
            <a:r>
              <a:rPr lang="en-US" sz="1000" dirty="0" err="1"/>
              <a:t>BicepsBrachii</a:t>
            </a:r>
            <a:r>
              <a:rPr lang="en-US" sz="1000" dirty="0"/>
              <a:t> Tendon: Flexed Abducted Supinated View</a:t>
            </a:r>
            <a:r>
              <a:rPr lang="de-CH" sz="1000" dirty="0"/>
              <a:t> – </a:t>
            </a:r>
            <a:r>
              <a:rPr lang="de-CH" sz="1000" dirty="0" err="1"/>
              <a:t>Giuffrè</a:t>
            </a:r>
            <a:r>
              <a:rPr lang="de-CH" sz="1000" dirty="0"/>
              <a:t> et al. AJR:182, April 2004</a:t>
            </a:r>
          </a:p>
        </p:txBody>
      </p:sp>
    </p:spTree>
    <p:extLst>
      <p:ext uri="{BB962C8B-B14F-4D97-AF65-F5344CB8AC3E}">
        <p14:creationId xmlns:p14="http://schemas.microsoft.com/office/powerpoint/2010/main" val="39959263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Ellenbogen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33</a:t>
            </a:fld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796855-FEF3-FB1C-F272-A7270531ED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8" y="1670049"/>
            <a:ext cx="11581849" cy="48852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Standard Bildgebung ist Röntgen in 2 Eben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Weitere Bildgebung nach Trauma – C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Ruptur der distalen Bizepssehne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entscheidend Anamnese und klinischer Befund 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Nur im Zweifelsfall MRI (FABS MRI am besten) </a:t>
            </a:r>
            <a:r>
              <a:rPr lang="de-CH" dirty="0" err="1"/>
              <a:t>erfoderlich</a:t>
            </a:r>
            <a:endParaRPr lang="de-CH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 err="1"/>
              <a:t>Epicondylitis</a:t>
            </a:r>
            <a:r>
              <a:rPr lang="de-CH" dirty="0"/>
              <a:t> </a:t>
            </a:r>
            <a:r>
              <a:rPr lang="de-CH" dirty="0" err="1"/>
              <a:t>humeri</a:t>
            </a:r>
            <a:r>
              <a:rPr lang="de-CH" dirty="0"/>
              <a:t> </a:t>
            </a:r>
            <a:r>
              <a:rPr lang="de-CH" dirty="0" err="1"/>
              <a:t>radialis</a:t>
            </a:r>
            <a:r>
              <a:rPr lang="de-CH" dirty="0"/>
              <a:t> (Tennisellenbogen) – 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Rein klinische Diagnose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im chronischen Fall (nach 6 Monaten) und zur </a:t>
            </a:r>
            <a:r>
              <a:rPr lang="de-CH" dirty="0" err="1"/>
              <a:t>differenzierung</a:t>
            </a:r>
            <a:r>
              <a:rPr lang="de-CH" dirty="0"/>
              <a:t> </a:t>
            </a:r>
            <a:r>
              <a:rPr lang="de-CH" dirty="0" err="1"/>
              <a:t>Epicondylitis</a:t>
            </a:r>
            <a:r>
              <a:rPr lang="de-CH" dirty="0"/>
              <a:t> oder Instabilität kann ein MRI erforderlich sein (durch den/r </a:t>
            </a:r>
            <a:r>
              <a:rPr lang="de-CH" dirty="0" err="1"/>
              <a:t>Spezialist:in</a:t>
            </a:r>
            <a:r>
              <a:rPr lang="de-CH" dirty="0"/>
              <a:t>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dirty="0"/>
              <a:t>Zum/zur </a:t>
            </a:r>
            <a:r>
              <a:rPr lang="de-CH" dirty="0" err="1"/>
              <a:t>Spezialist:in</a:t>
            </a:r>
            <a:r>
              <a:rPr lang="de-CH" dirty="0"/>
              <a:t> 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Ruptur der distalen Bizepssehne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Luxationen und Frakturen</a:t>
            </a:r>
          </a:p>
          <a:p>
            <a:pPr marL="702900" lvl="3" indent="-342900">
              <a:spcBef>
                <a:spcPts val="0"/>
              </a:spcBef>
            </a:pPr>
            <a:r>
              <a:rPr lang="de-CH" dirty="0"/>
              <a:t>Chronische Epikondylitiden (3-6 Monate nach konservativer Therapie)</a:t>
            </a:r>
          </a:p>
          <a:p>
            <a:pPr marL="342900" indent="-342900">
              <a:buFontTx/>
              <a:buChar char="-"/>
            </a:pPr>
            <a:endParaRPr lang="de-CH" dirty="0"/>
          </a:p>
          <a:p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</p:spTree>
    <p:extLst>
      <p:ext uri="{BB962C8B-B14F-4D97-AF65-F5344CB8AC3E}">
        <p14:creationId xmlns:p14="http://schemas.microsoft.com/office/powerpoint/2010/main" val="3717266343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AD8E-822B-8A0A-FF93-C3C3226A0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81628-4410-6868-BC00-B79E254756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pPr algn="ctr"/>
            <a:r>
              <a:rPr lang="de-CH" sz="6000" dirty="0"/>
              <a:t>Hand</a:t>
            </a:r>
          </a:p>
          <a:p>
            <a:pPr algn="ctr"/>
            <a:r>
              <a:rPr lang="de-CH" sz="2500" dirty="0" err="1"/>
              <a:t>Red</a:t>
            </a:r>
            <a:r>
              <a:rPr lang="de-CH" sz="2500" dirty="0"/>
              <a:t> </a:t>
            </a:r>
            <a:r>
              <a:rPr lang="de-CH" sz="2500" dirty="0" err="1"/>
              <a:t>flags</a:t>
            </a:r>
            <a:endParaRPr lang="de-CH" sz="2500" dirty="0"/>
          </a:p>
          <a:p>
            <a:pPr algn="ctr"/>
            <a:r>
              <a:rPr lang="de-CH" sz="2500" dirty="0"/>
              <a:t>MRI Indikationen</a:t>
            </a:r>
          </a:p>
          <a:p>
            <a:pPr algn="ctr"/>
            <a:r>
              <a:rPr lang="de-CH" sz="2500" dirty="0"/>
              <a:t>wann zum/zur </a:t>
            </a:r>
            <a:r>
              <a:rPr lang="de-CH" sz="2500" dirty="0" err="1"/>
              <a:t>Spezialist:in</a:t>
            </a:r>
            <a:endParaRPr lang="de-CH" sz="25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68A74B-3303-9987-A2C7-F31E7E44E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1691B-85F5-7072-12FE-2EF65A6011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249700" y="2775419"/>
            <a:ext cx="2913388" cy="2915208"/>
          </a:xfrm>
        </p:spPr>
        <p:txBody>
          <a:bodyPr/>
          <a:lstStyle/>
          <a:p>
            <a:pPr algn="ctr"/>
            <a:r>
              <a:rPr lang="de-CH" dirty="0"/>
              <a:t>Matthias Hollatz </a:t>
            </a:r>
            <a:r>
              <a:rPr lang="de-CH" sz="1200" dirty="0"/>
              <a:t>Leitender Arzt Orthopädie/Traumatologie Schwerpunkt Knie         Spital Thun</a:t>
            </a:r>
          </a:p>
        </p:txBody>
      </p:sp>
    </p:spTree>
    <p:extLst>
      <p:ext uri="{BB962C8B-B14F-4D97-AF65-F5344CB8AC3E}">
        <p14:creationId xmlns:p14="http://schemas.microsoft.com/office/powerpoint/2010/main" val="260468034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Hand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35</a:t>
            </a:fld>
            <a:endParaRPr lang="de-CH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71796855-FEF3-FB1C-F272-A7270531ED65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07988" y="1342239"/>
            <a:ext cx="11376026" cy="5452844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Indikation für MRI ist rar - Ultraschall vor M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Bildgebung nach Trauma wenn konventionelle Bilder unauffällig und weiterhin Verdacht auf Fraktur besteht – 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Distale Radiusfraktur – Röntgen Handgelenk </a:t>
            </a:r>
            <a:r>
              <a:rPr lang="de-CH" sz="1600" dirty="0" err="1"/>
              <a:t>pa</a:t>
            </a:r>
            <a:r>
              <a:rPr lang="de-CH" sz="1600" dirty="0"/>
              <a:t>/seitlich, ggf. CT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Wichtig – Feinschicht-CT mit 1mm Schichten für Hand und </a:t>
            </a:r>
            <a:r>
              <a:rPr lang="de-CH" sz="1600" dirty="0" err="1"/>
              <a:t>Scaphoid</a:t>
            </a:r>
            <a:endParaRPr lang="de-CH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Carpaltunnel – im Normalfall keine Bildgeb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Rhizarthrose – Röntgen vom Handgelenk und Daumensattelgelenk ausreichen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Ganglion – Ultraschal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Sehnenruptur – Ultraschall (funktionelle Beurteilung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Morbus </a:t>
            </a:r>
            <a:r>
              <a:rPr lang="de-CH" sz="1600" dirty="0" err="1"/>
              <a:t>Kienböck</a:t>
            </a:r>
            <a:r>
              <a:rPr lang="de-CH" sz="1600" dirty="0"/>
              <a:t> – MRI (belastungsabhängige Schmerzen bei </a:t>
            </a:r>
            <a:r>
              <a:rPr lang="de-CH" sz="1600" dirty="0" err="1"/>
              <a:t>Ulna</a:t>
            </a:r>
            <a:r>
              <a:rPr lang="de-CH" sz="1600" dirty="0"/>
              <a:t> </a:t>
            </a:r>
            <a:r>
              <a:rPr lang="de-CH" sz="1600" dirty="0" err="1"/>
              <a:t>abduktion</a:t>
            </a:r>
            <a:r>
              <a:rPr lang="de-CH" sz="1600" dirty="0"/>
              <a:t> bei jungen </a:t>
            </a:r>
            <a:r>
              <a:rPr lang="de-CH" sz="1600" dirty="0" err="1"/>
              <a:t>Patient:innen</a:t>
            </a:r>
            <a:r>
              <a:rPr lang="de-CH" sz="1600" dirty="0"/>
              <a:t>)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TFCC Verletzungen, persistierende Schmerzen nach Verletzung des </a:t>
            </a:r>
            <a:r>
              <a:rPr lang="de-CH" sz="1600" dirty="0" err="1"/>
              <a:t>Ulnastyloids</a:t>
            </a:r>
            <a:r>
              <a:rPr lang="de-CH" sz="1600" dirty="0"/>
              <a:t> – </a:t>
            </a:r>
            <a:r>
              <a:rPr lang="de-CH" sz="1600" dirty="0" err="1"/>
              <a:t>Arthro</a:t>
            </a:r>
            <a:r>
              <a:rPr lang="de-CH" sz="1600" dirty="0"/>
              <a:t> MRI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Tumorverdacht – MRI meist nach </a:t>
            </a:r>
            <a:r>
              <a:rPr lang="de-CH" sz="1600" dirty="0" err="1"/>
              <a:t>Tumorboardbeschluss</a:t>
            </a:r>
            <a:r>
              <a:rPr lang="de-CH" sz="1600" dirty="0"/>
              <a:t> oder nach Empfehlung der Radiolo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sz="1600" dirty="0"/>
              <a:t>Wann zum </a:t>
            </a:r>
            <a:r>
              <a:rPr lang="de-CH" sz="1600" dirty="0" err="1"/>
              <a:t>Spezialist:in</a:t>
            </a:r>
            <a:r>
              <a:rPr lang="de-CH" sz="1600" dirty="0"/>
              <a:t>: </a:t>
            </a:r>
            <a:r>
              <a:rPr lang="de-CH" sz="1600" dirty="0" err="1"/>
              <a:t>Scaphoidfraktur</a:t>
            </a:r>
            <a:r>
              <a:rPr lang="de-CH" sz="1600" dirty="0"/>
              <a:t>, </a:t>
            </a:r>
            <a:r>
              <a:rPr lang="de-CH" sz="1600" dirty="0" err="1"/>
              <a:t>perilunäre</a:t>
            </a:r>
            <a:r>
              <a:rPr lang="de-CH" sz="1600" dirty="0"/>
              <a:t> Luxation (korrekte Bildgebung entscheidend)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400" dirty="0"/>
              <a:t>Häufige MRI-Befunde: </a:t>
            </a:r>
          </a:p>
          <a:p>
            <a:pPr marL="645750" lvl="3" indent="-285750">
              <a:spcBef>
                <a:spcPts val="0"/>
              </a:spcBef>
            </a:pPr>
            <a:r>
              <a:rPr lang="de-CH" sz="1400" dirty="0"/>
              <a:t>ECU Sehnensplit – ohne Pathologie;  </a:t>
            </a:r>
          </a:p>
          <a:p>
            <a:pPr marL="645750" lvl="3" indent="-285750">
              <a:spcBef>
                <a:spcPts val="0"/>
              </a:spcBef>
            </a:pPr>
            <a:r>
              <a:rPr lang="de-CH" sz="1400" dirty="0"/>
              <a:t>APL aufgefasert – ohne Pathologie (ist immer aufgefasert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CH" sz="1600" dirty="0"/>
          </a:p>
          <a:p>
            <a:pPr marL="342900" indent="-342900">
              <a:buFontTx/>
              <a:buChar char="-"/>
            </a:pPr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</p:spTree>
    <p:extLst>
      <p:ext uri="{BB962C8B-B14F-4D97-AF65-F5344CB8AC3E}">
        <p14:creationId xmlns:p14="http://schemas.microsoft.com/office/powerpoint/2010/main" val="391539297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8D1450D-2759-17F4-3446-90940EB0275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93ACA6E-2336-98B4-1922-E64BEE09BB5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 dirty="0"/>
          </a:p>
          <a:p>
            <a:r>
              <a:rPr lang="de-CH" dirty="0"/>
              <a:t>Matthias Hollatz </a:t>
            </a:r>
          </a:p>
          <a:p>
            <a:r>
              <a:rPr lang="de-CH" dirty="0"/>
              <a:t>Leitender Arzt Orthopädie/Traumatologie Schwerpunkt Knie         </a:t>
            </a:r>
          </a:p>
          <a:p>
            <a:r>
              <a:rPr lang="de-CH" dirty="0"/>
              <a:t>Spital Thun</a:t>
            </a:r>
          </a:p>
          <a:p>
            <a:endParaRPr lang="de-CH" dirty="0"/>
          </a:p>
        </p:txBody>
      </p:sp>
    </p:spTree>
    <p:extLst>
      <p:ext uri="{BB962C8B-B14F-4D97-AF65-F5344CB8AC3E}">
        <p14:creationId xmlns:p14="http://schemas.microsoft.com/office/powerpoint/2010/main" val="211261158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4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10" name="Textfeld 9">
            <a:extLst>
              <a:ext uri="{FF2B5EF4-FFF2-40B4-BE49-F238E27FC236}">
                <a16:creationId xmlns:a16="http://schemas.microsoft.com/office/drawing/2014/main" id="{E08C78CE-113B-4285-8CDF-4B434C07E3E2}"/>
              </a:ext>
            </a:extLst>
          </p:cNvPr>
          <p:cNvSpPr txBox="1"/>
          <p:nvPr/>
        </p:nvSpPr>
        <p:spPr>
          <a:xfrm>
            <a:off x="407987" y="4765450"/>
            <a:ext cx="7471756" cy="196663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endParaRPr lang="de-CH" dirty="0"/>
          </a:p>
          <a:p>
            <a:r>
              <a:rPr lang="de-CH" dirty="0"/>
              <a:t> MRI Knie: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Kniegelenkserguss mit diskreter Baker-Zys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Läsion des Vorderhornes des medialen Menisku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Relativ deutliche mediale Gonarthrose sowie leichtgradige medial betonte </a:t>
            </a:r>
            <a:r>
              <a:rPr lang="de-CH" dirty="0" err="1"/>
              <a:t>Femoropatellararthrose</a:t>
            </a:r>
            <a:endParaRPr lang="de-CH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CH" dirty="0"/>
              <a:t>Leichtgradiges </a:t>
            </a:r>
            <a:r>
              <a:rPr lang="de-CH" dirty="0" err="1"/>
              <a:t>Impingement</a:t>
            </a:r>
            <a:r>
              <a:rPr lang="de-CH" dirty="0"/>
              <a:t> des </a:t>
            </a:r>
            <a:r>
              <a:rPr lang="de-CH" dirty="0" err="1"/>
              <a:t>Hoffa’schen</a:t>
            </a:r>
            <a:r>
              <a:rPr lang="de-CH" dirty="0"/>
              <a:t> Fettkörpers </a:t>
            </a:r>
            <a:r>
              <a:rPr lang="de-CH" dirty="0" err="1"/>
              <a:t>interkondylärnahe</a:t>
            </a:r>
            <a:endParaRPr lang="de-CH" sz="20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26F4F63A-AC28-4900-AC17-4BB08A976D2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7" y="1512854"/>
            <a:ext cx="6893781" cy="3340060"/>
          </a:xfrm>
          <a:prstGeom prst="rect">
            <a:avLst/>
          </a:prstGeom>
        </p:spPr>
      </p:pic>
      <p:sp>
        <p:nvSpPr>
          <p:cNvPr id="13" name="Textfeld 12">
            <a:extLst>
              <a:ext uri="{FF2B5EF4-FFF2-40B4-BE49-F238E27FC236}">
                <a16:creationId xmlns:a16="http://schemas.microsoft.com/office/drawing/2014/main" id="{4FB69561-D79A-4497-AA2A-7743DB0FD691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6372168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13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5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3227F92B-B59D-42FB-8864-0A8AB048D7C3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987" y="1261685"/>
            <a:ext cx="6880694" cy="3841518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85E57550-3B9D-4E16-8294-97192D01BD6D}"/>
              </a:ext>
            </a:extLst>
          </p:cNvPr>
          <p:cNvSpPr txBox="1"/>
          <p:nvPr/>
        </p:nvSpPr>
        <p:spPr>
          <a:xfrm>
            <a:off x="407987" y="5311471"/>
            <a:ext cx="6668674" cy="133581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dirty="0"/>
              <a:t>Knie rechts </a:t>
            </a:r>
            <a:r>
              <a:rPr lang="de-CH" dirty="0" err="1"/>
              <a:t>pa</a:t>
            </a:r>
            <a:r>
              <a:rPr lang="de-CH" dirty="0"/>
              <a:t> stehend nach Rosenberg, seitlich und Patella tangential: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Fehlender Gelenkspalt medial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de-CH" dirty="0"/>
              <a:t>Leichte Lateralisation der Patella mit verminderten Gelenkspalt lateral und lateralen Osteophyten</a:t>
            </a:r>
          </a:p>
          <a:p>
            <a:pPr algn="l"/>
            <a:endParaRPr lang="de-CH" sz="2000" dirty="0"/>
          </a:p>
        </p:txBody>
      </p:sp>
      <p:sp>
        <p:nvSpPr>
          <p:cNvPr id="14" name="Textfeld 13">
            <a:extLst>
              <a:ext uri="{FF2B5EF4-FFF2-40B4-BE49-F238E27FC236}">
                <a16:creationId xmlns:a16="http://schemas.microsoft.com/office/drawing/2014/main" id="{7929E098-20BC-4DB6-9D92-6EC7F00E0637}"/>
              </a:ext>
            </a:extLst>
          </p:cNvPr>
          <p:cNvSpPr txBox="1"/>
          <p:nvPr/>
        </p:nvSpPr>
        <p:spPr>
          <a:xfrm>
            <a:off x="10071462" y="1423851"/>
            <a:ext cx="2024743" cy="4885509"/>
          </a:xfrm>
          <a:prstGeom prst="rect">
            <a:avLst/>
          </a:prstGeom>
          <a:noFill/>
          <a:ln w="25400">
            <a:noFill/>
          </a:ln>
        </p:spPr>
        <p:txBody>
          <a:bodyPr wrap="square" lIns="0" tIns="0" rIns="0" bIns="0" rtlCol="0">
            <a:noAutofit/>
          </a:bodyPr>
          <a:lstStyle/>
          <a:p>
            <a:r>
              <a:rPr lang="de-CH" sz="2000" b="1" dirty="0">
                <a:solidFill>
                  <a:schemeClr val="accent1"/>
                </a:solidFill>
              </a:rPr>
              <a:t>Wie gehts weiter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Röntgen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MRI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de-CH" sz="2000" dirty="0">
                <a:solidFill>
                  <a:schemeClr val="accent1"/>
                </a:solidFill>
              </a:rPr>
              <a:t>Ultraschall?</a:t>
            </a:r>
          </a:p>
          <a:p>
            <a:pPr marL="342900" indent="-342900" algn="l">
              <a:buFont typeface="Arial" panose="020B0604020202020204" pitchFamily="34" charset="0"/>
              <a:buChar char="•"/>
            </a:pPr>
            <a:endParaRPr lang="de-CH" sz="2000" dirty="0">
              <a:solidFill>
                <a:schemeClr val="accent1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200" dirty="0">
                <a:solidFill>
                  <a:schemeClr val="accent1"/>
                </a:solidFill>
              </a:rPr>
              <a:t>Zum/zur   </a:t>
            </a:r>
            <a:r>
              <a:rPr lang="de-CH" sz="2000" dirty="0" err="1">
                <a:solidFill>
                  <a:schemeClr val="accent1"/>
                </a:solidFill>
              </a:rPr>
              <a:t>Spezialist:in</a:t>
            </a:r>
            <a:r>
              <a:rPr lang="de-CH" sz="2000" dirty="0">
                <a:solidFill>
                  <a:schemeClr val="accent1"/>
                </a:solidFill>
              </a:rPr>
              <a:t>?</a:t>
            </a:r>
          </a:p>
        </p:txBody>
      </p:sp>
    </p:spTree>
    <p:extLst>
      <p:ext uri="{BB962C8B-B14F-4D97-AF65-F5344CB8AC3E}">
        <p14:creationId xmlns:p14="http://schemas.microsoft.com/office/powerpoint/2010/main" val="28464023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14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6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11" name="Grafik 10">
            <a:extLst>
              <a:ext uri="{FF2B5EF4-FFF2-40B4-BE49-F238E27FC236}">
                <a16:creationId xmlns:a16="http://schemas.microsoft.com/office/drawing/2014/main" id="{3F9CFF66-DAF6-4260-941D-EB059B8B6B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6932" y="1191475"/>
            <a:ext cx="2837082" cy="4666018"/>
          </a:xfrm>
          <a:prstGeom prst="rect">
            <a:avLst/>
          </a:prstGeom>
        </p:spPr>
      </p:pic>
      <p:pic>
        <p:nvPicPr>
          <p:cNvPr id="13" name="Grafik 12">
            <a:extLst>
              <a:ext uri="{FF2B5EF4-FFF2-40B4-BE49-F238E27FC236}">
                <a16:creationId xmlns:a16="http://schemas.microsoft.com/office/drawing/2014/main" id="{329E8F6C-1D24-40EA-B7A2-1DC3A7B1ADA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5279" y="1340864"/>
            <a:ext cx="2859999" cy="4771846"/>
          </a:xfrm>
          <a:prstGeom prst="rect">
            <a:avLst/>
          </a:prstGeom>
        </p:spPr>
      </p:pic>
      <p:pic>
        <p:nvPicPr>
          <p:cNvPr id="17" name="Grafik 16">
            <a:extLst>
              <a:ext uri="{FF2B5EF4-FFF2-40B4-BE49-F238E27FC236}">
                <a16:creationId xmlns:a16="http://schemas.microsoft.com/office/drawing/2014/main" id="{0E01C42C-F6EB-49F8-8331-2F456C498C2A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34014" y="1340864"/>
            <a:ext cx="3028950" cy="4029075"/>
          </a:xfrm>
          <a:prstGeom prst="rect">
            <a:avLst/>
          </a:prstGeom>
        </p:spPr>
      </p:pic>
      <p:sp>
        <p:nvSpPr>
          <p:cNvPr id="18" name="Textfeld 17">
            <a:extLst>
              <a:ext uri="{FF2B5EF4-FFF2-40B4-BE49-F238E27FC236}">
                <a16:creationId xmlns:a16="http://schemas.microsoft.com/office/drawing/2014/main" id="{E64F44AB-F80F-4485-81A8-C89A26FEFF9B}"/>
              </a:ext>
            </a:extLst>
          </p:cNvPr>
          <p:cNvSpPr txBox="1"/>
          <p:nvPr/>
        </p:nvSpPr>
        <p:spPr>
          <a:xfrm>
            <a:off x="9344475" y="5427442"/>
            <a:ext cx="2608028" cy="67633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1200" dirty="0"/>
              <a:t>Aus orthorad.de Rosenbergaufnahme</a:t>
            </a:r>
          </a:p>
        </p:txBody>
      </p:sp>
      <p:pic>
        <p:nvPicPr>
          <p:cNvPr id="20" name="Grafik 19">
            <a:extLst>
              <a:ext uri="{FF2B5EF4-FFF2-40B4-BE49-F238E27FC236}">
                <a16:creationId xmlns:a16="http://schemas.microsoft.com/office/drawing/2014/main" id="{1D7CDAD8-BD7A-4899-A537-955A55EA864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4229" y="4116834"/>
            <a:ext cx="1987534" cy="1402494"/>
          </a:xfrm>
          <a:prstGeom prst="rect">
            <a:avLst/>
          </a:prstGeom>
        </p:spPr>
      </p:pic>
      <p:sp>
        <p:nvSpPr>
          <p:cNvPr id="21" name="Textfeld 20">
            <a:extLst>
              <a:ext uri="{FF2B5EF4-FFF2-40B4-BE49-F238E27FC236}">
                <a16:creationId xmlns:a16="http://schemas.microsoft.com/office/drawing/2014/main" id="{AFC0DAAC-E198-4867-A99B-1264F6445C67}"/>
              </a:ext>
            </a:extLst>
          </p:cNvPr>
          <p:cNvSpPr txBox="1"/>
          <p:nvPr/>
        </p:nvSpPr>
        <p:spPr>
          <a:xfrm>
            <a:off x="407987" y="6195658"/>
            <a:ext cx="2859999" cy="4302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1600" dirty="0"/>
              <a:t>Knie </a:t>
            </a:r>
            <a:r>
              <a:rPr lang="de-CH" sz="1600" dirty="0" err="1"/>
              <a:t>ap</a:t>
            </a:r>
            <a:endParaRPr lang="de-CH" sz="1600" dirty="0"/>
          </a:p>
        </p:txBody>
      </p:sp>
      <p:sp>
        <p:nvSpPr>
          <p:cNvPr id="22" name="Textfeld 21">
            <a:extLst>
              <a:ext uri="{FF2B5EF4-FFF2-40B4-BE49-F238E27FC236}">
                <a16:creationId xmlns:a16="http://schemas.microsoft.com/office/drawing/2014/main" id="{53F0AA95-0A91-4A1B-81AF-2B648CC00347}"/>
              </a:ext>
            </a:extLst>
          </p:cNvPr>
          <p:cNvSpPr txBox="1"/>
          <p:nvPr/>
        </p:nvSpPr>
        <p:spPr>
          <a:xfrm>
            <a:off x="6296932" y="6046948"/>
            <a:ext cx="2925644" cy="43021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1600" dirty="0"/>
              <a:t>Knie </a:t>
            </a:r>
            <a:r>
              <a:rPr lang="de-CH" sz="1600" dirty="0" err="1"/>
              <a:t>pa</a:t>
            </a:r>
            <a:r>
              <a:rPr lang="de-CH" sz="1600" dirty="0"/>
              <a:t> stehend nach Rosenberg</a:t>
            </a:r>
          </a:p>
        </p:txBody>
      </p:sp>
      <p:sp>
        <p:nvSpPr>
          <p:cNvPr id="23" name="Textfeld 22">
            <a:extLst>
              <a:ext uri="{FF2B5EF4-FFF2-40B4-BE49-F238E27FC236}">
                <a16:creationId xmlns:a16="http://schemas.microsoft.com/office/drawing/2014/main" id="{4E394DB9-1EDB-44D8-AD95-FBC79CC7715C}"/>
              </a:ext>
            </a:extLst>
          </p:cNvPr>
          <p:cNvSpPr txBox="1"/>
          <p:nvPr/>
        </p:nvSpPr>
        <p:spPr>
          <a:xfrm>
            <a:off x="3424229" y="5596525"/>
            <a:ext cx="1987534" cy="338165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de-CH" sz="1200" dirty="0"/>
              <a:t>Aus orthorad.de Knie </a:t>
            </a:r>
            <a:r>
              <a:rPr lang="de-CH" sz="1200" dirty="0" err="1"/>
              <a:t>ap</a:t>
            </a:r>
            <a:endParaRPr lang="de-CH" sz="1200" dirty="0"/>
          </a:p>
        </p:txBody>
      </p:sp>
    </p:spTree>
    <p:extLst>
      <p:ext uri="{BB962C8B-B14F-4D97-AF65-F5344CB8AC3E}">
        <p14:creationId xmlns:p14="http://schemas.microsoft.com/office/powerpoint/2010/main" val="35048992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/>
      <p:bldP spid="21" grpId="0"/>
      <p:bldP spid="22" grpId="0"/>
      <p:bldP spid="23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Fall 1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7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pic>
        <p:nvPicPr>
          <p:cNvPr id="7" name="Grafik 6">
            <a:extLst>
              <a:ext uri="{FF2B5EF4-FFF2-40B4-BE49-F238E27FC236}">
                <a16:creationId xmlns:a16="http://schemas.microsoft.com/office/drawing/2014/main" id="{9B17C422-8548-4474-B137-6CB14623B7D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3148" y="2368685"/>
            <a:ext cx="6627033" cy="3523232"/>
          </a:xfrm>
          <a:prstGeom prst="rect">
            <a:avLst/>
          </a:prstGeom>
        </p:spPr>
      </p:pic>
      <p:sp>
        <p:nvSpPr>
          <p:cNvPr id="8" name="Textfeld 7">
            <a:extLst>
              <a:ext uri="{FF2B5EF4-FFF2-40B4-BE49-F238E27FC236}">
                <a16:creationId xmlns:a16="http://schemas.microsoft.com/office/drawing/2014/main" id="{5E1EB797-3A95-4B66-8C22-628AE870F615}"/>
              </a:ext>
            </a:extLst>
          </p:cNvPr>
          <p:cNvSpPr txBox="1"/>
          <p:nvPr/>
        </p:nvSpPr>
        <p:spPr>
          <a:xfrm>
            <a:off x="593148" y="1581792"/>
            <a:ext cx="4721918" cy="46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de-CH" sz="3000" dirty="0"/>
              <a:t>https://orthorad.de</a:t>
            </a:r>
          </a:p>
        </p:txBody>
      </p:sp>
      <p:pic>
        <p:nvPicPr>
          <p:cNvPr id="10" name="Grafik 9">
            <a:extLst>
              <a:ext uri="{FF2B5EF4-FFF2-40B4-BE49-F238E27FC236}">
                <a16:creationId xmlns:a16="http://schemas.microsoft.com/office/drawing/2014/main" id="{06FD74B2-E350-4F3D-AE6C-8AD77E20EC3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621" y="1115092"/>
            <a:ext cx="3665700" cy="2105884"/>
          </a:xfrm>
          <a:prstGeom prst="rect">
            <a:avLst/>
          </a:prstGeom>
        </p:spPr>
      </p:pic>
      <p:pic>
        <p:nvPicPr>
          <p:cNvPr id="16" name="Grafik 15">
            <a:extLst>
              <a:ext uri="{FF2B5EF4-FFF2-40B4-BE49-F238E27FC236}">
                <a16:creationId xmlns:a16="http://schemas.microsoft.com/office/drawing/2014/main" id="{56F998FE-3865-47F6-AA2D-F6C9B895DFC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38621" y="4130301"/>
            <a:ext cx="3665700" cy="2182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6575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714AA4F-EAE8-BF07-A781-1877466F320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de-CH" dirty="0"/>
              <a:t>Knie – Take Home Message</a:t>
            </a:r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2AF1BD16-2A19-650E-6F1E-ADF0B8AF60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C84AB057-EB88-472B-8529-B85DE59EC8B3}" type="slidenum">
              <a:rPr lang="de-CH" smtClean="0"/>
              <a:pPr algn="ctr"/>
              <a:t>8</a:t>
            </a:fld>
            <a:endParaRPr lang="de-CH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34EE1E6-5FC6-BC17-F5D2-378B14B963A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Orthopädie: Red Flags, MRI </a:t>
            </a:r>
            <a:r>
              <a:rPr lang="en-US" dirty="0" err="1"/>
              <a:t>Indikationen</a:t>
            </a:r>
            <a:r>
              <a:rPr lang="en-US" dirty="0"/>
              <a:t>, </a:t>
            </a:r>
            <a:r>
              <a:rPr lang="en-US" dirty="0" err="1"/>
              <a:t>Wann</a:t>
            </a:r>
            <a:r>
              <a:rPr lang="en-US" dirty="0"/>
              <a:t> </a:t>
            </a:r>
            <a:r>
              <a:rPr lang="en-US" dirty="0" err="1"/>
              <a:t>zum</a:t>
            </a:r>
            <a:r>
              <a:rPr lang="en-US" dirty="0"/>
              <a:t>/</a:t>
            </a:r>
            <a:r>
              <a:rPr lang="en-US" dirty="0" err="1"/>
              <a:t>zur</a:t>
            </a:r>
            <a:r>
              <a:rPr lang="en-US" dirty="0"/>
              <a:t> </a:t>
            </a:r>
            <a:r>
              <a:rPr lang="en-US" dirty="0" err="1"/>
              <a:t>Spezialist:in</a:t>
            </a:r>
            <a:endParaRPr lang="en-US" dirty="0"/>
          </a:p>
        </p:txBody>
      </p:sp>
      <p:sp>
        <p:nvSpPr>
          <p:cNvPr id="6" name="Fußzeilenplatzhalter 4">
            <a:extLst>
              <a:ext uri="{FF2B5EF4-FFF2-40B4-BE49-F238E27FC236}">
                <a16:creationId xmlns:a16="http://schemas.microsoft.com/office/drawing/2014/main" id="{69784823-7C4A-4C46-9A4A-D330C4D56624}"/>
              </a:ext>
            </a:extLst>
          </p:cNvPr>
          <p:cNvSpPr txBox="1">
            <a:spLocks/>
          </p:cNvSpPr>
          <p:nvPr/>
        </p:nvSpPr>
        <p:spPr>
          <a:xfrm>
            <a:off x="9558779" y="296864"/>
            <a:ext cx="1865235" cy="196296"/>
          </a:xfrm>
          <a:prstGeom prst="rect">
            <a:avLst/>
          </a:prstGeom>
        </p:spPr>
        <p:txBody>
          <a:bodyPr vert="horz" lIns="0" tIns="0" rIns="0" bIns="0" rtlCol="0" anchor="t"/>
          <a:lstStyle>
            <a:defPPr>
              <a:defRPr lang="en-US"/>
            </a:defPPr>
            <a:lvl1pPr marL="0" algn="l" defTabSz="914400" rtl="0" eaLnBrk="1" latinLnBrk="0" hangingPunct="1">
              <a:defRPr lang="de-CH" sz="1000" b="1" kern="1200" cap="all" dirty="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/>
              <a:t>Matthias Hollatz, </a:t>
            </a:r>
            <a:r>
              <a:rPr lang="en-US" dirty="0" err="1"/>
              <a:t>Spital</a:t>
            </a:r>
            <a:r>
              <a:rPr lang="en-US" dirty="0"/>
              <a:t> Thun</a:t>
            </a:r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BC8E7FB0-7567-438A-8F3E-FDEDDB3F834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e-CH" sz="1800" dirty="0"/>
              <a:t>Primäre Standard Diagnostik ist Röntgen in 3 Ebenen </a:t>
            </a:r>
          </a:p>
          <a:p>
            <a:pPr marL="702900" lvl="3" indent="-342900"/>
            <a:r>
              <a:rPr lang="de-CH" sz="1800" dirty="0"/>
              <a:t>Bei Trauma mit Verdacht auf Fraktur: Knie </a:t>
            </a:r>
            <a:r>
              <a:rPr lang="de-CH" sz="1800" dirty="0" err="1"/>
              <a:t>ap</a:t>
            </a:r>
            <a:r>
              <a:rPr lang="de-CH" sz="1800" dirty="0"/>
              <a:t>, lateral und Patella tangential</a:t>
            </a:r>
          </a:p>
          <a:p>
            <a:pPr marL="702900" lvl="3" indent="-342900"/>
            <a:r>
              <a:rPr lang="de-CH" sz="1800" dirty="0"/>
              <a:t>Sonst Rosenbergaufnahme </a:t>
            </a:r>
            <a:r>
              <a:rPr lang="de-CH" sz="1800" dirty="0" err="1"/>
              <a:t>pa</a:t>
            </a:r>
            <a:r>
              <a:rPr lang="de-CH" sz="1800" dirty="0"/>
              <a:t> stehend, lateral und Patella tangential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ei radiologischer Diagnose einer Arthrose – kein MRI (im speziellen macht dies der/die </a:t>
            </a:r>
            <a:r>
              <a:rPr lang="de-CH" sz="1800" b="0" dirty="0" err="1">
                <a:solidFill>
                  <a:schemeClr val="tx1"/>
                </a:solidFill>
              </a:rPr>
              <a:t>Spezialist:in</a:t>
            </a:r>
            <a:r>
              <a:rPr lang="de-CH" sz="1800" b="0" dirty="0">
                <a:solidFill>
                  <a:schemeClr val="tx1"/>
                </a:solidFill>
              </a:rPr>
              <a:t>)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is zum 30.-40. Lebensjahr kann die MRI Diagnostik grosszügig gestellt werd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Junge </a:t>
            </a:r>
            <a:r>
              <a:rPr lang="de-CH" sz="1800" b="0" dirty="0" err="1">
                <a:solidFill>
                  <a:schemeClr val="tx1"/>
                </a:solidFill>
              </a:rPr>
              <a:t>Patient:innen</a:t>
            </a:r>
            <a:r>
              <a:rPr lang="de-CH" sz="1800" b="0" dirty="0">
                <a:solidFill>
                  <a:schemeClr val="tx1"/>
                </a:solidFill>
              </a:rPr>
              <a:t> mit Kniedistorsion (20 jährig) MRI anstreb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ei atraumatischen Knieschmerzen kann man primär abwart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Bei atraumatischen medialen Meniskusläsionen kann man primär abwarten</a:t>
            </a:r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de-CH" sz="1800" b="0" dirty="0">
                <a:solidFill>
                  <a:schemeClr val="tx1"/>
                </a:solidFill>
              </a:rPr>
              <a:t>Zum/zur </a:t>
            </a:r>
            <a:r>
              <a:rPr lang="de-CH" sz="1800" b="0" dirty="0" err="1">
                <a:solidFill>
                  <a:schemeClr val="tx1"/>
                </a:solidFill>
              </a:rPr>
              <a:t>Spezialist:in</a:t>
            </a:r>
            <a:endParaRPr lang="de-CH" sz="1800" b="0" dirty="0">
              <a:solidFill>
                <a:schemeClr val="tx1"/>
              </a:solidFill>
            </a:endParaRPr>
          </a:p>
          <a:p>
            <a:pPr marL="702900" lvl="3" indent="-342900">
              <a:spcBef>
                <a:spcPts val="0"/>
              </a:spcBef>
            </a:pPr>
            <a:r>
              <a:rPr lang="de-CH" sz="1800" dirty="0"/>
              <a:t>T</a:t>
            </a:r>
            <a:r>
              <a:rPr lang="de-CH" sz="1800" b="0" dirty="0">
                <a:solidFill>
                  <a:schemeClr val="tx1"/>
                </a:solidFill>
              </a:rPr>
              <a:t>raumatische Meniskusläsionen</a:t>
            </a:r>
          </a:p>
          <a:p>
            <a:pPr marL="702900" lvl="3" indent="-342900">
              <a:spcBef>
                <a:spcPts val="0"/>
              </a:spcBef>
            </a:pPr>
            <a:r>
              <a:rPr lang="de-CH" sz="1800" b="0" dirty="0">
                <a:solidFill>
                  <a:schemeClr val="tx1"/>
                </a:solidFill>
              </a:rPr>
              <a:t>Meniskuskorbhenkelläsion</a:t>
            </a:r>
          </a:p>
          <a:p>
            <a:pPr marL="702900" lvl="3" indent="-342900">
              <a:spcBef>
                <a:spcPts val="0"/>
              </a:spcBef>
            </a:pPr>
            <a:r>
              <a:rPr lang="de-CH" sz="1800" b="0" dirty="0" err="1">
                <a:solidFill>
                  <a:schemeClr val="tx1"/>
                </a:solidFill>
              </a:rPr>
              <a:t>Ligamentäre</a:t>
            </a:r>
            <a:r>
              <a:rPr lang="de-CH" sz="1800" b="0" dirty="0">
                <a:solidFill>
                  <a:schemeClr val="tx1"/>
                </a:solidFill>
              </a:rPr>
              <a:t> Verletzungen</a:t>
            </a:r>
          </a:p>
          <a:p>
            <a:pPr marL="702900" lvl="3" indent="-342900">
              <a:spcBef>
                <a:spcPts val="0"/>
              </a:spcBef>
            </a:pPr>
            <a:r>
              <a:rPr lang="de-CH" sz="1800" dirty="0"/>
              <a:t>Luxationen und Frakturen</a:t>
            </a:r>
            <a:endParaRPr lang="de-CH" sz="1800" b="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47226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E58AD8E-822B-8A0A-FF93-C3C3226A0B7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91C81628-4410-6868-BC00-B79E2547567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solidFill>
            <a:schemeClr val="accent1"/>
          </a:solidFill>
        </p:spPr>
        <p:txBody>
          <a:bodyPr/>
          <a:lstStyle/>
          <a:p>
            <a:pPr algn="ctr"/>
            <a:r>
              <a:rPr lang="de-CH" sz="6000" dirty="0"/>
              <a:t>Hüfte</a:t>
            </a:r>
          </a:p>
          <a:p>
            <a:pPr algn="ctr"/>
            <a:r>
              <a:rPr lang="de-CH" sz="2500" dirty="0" err="1"/>
              <a:t>Red</a:t>
            </a:r>
            <a:r>
              <a:rPr lang="de-CH" sz="2500" dirty="0"/>
              <a:t> </a:t>
            </a:r>
            <a:r>
              <a:rPr lang="de-CH" sz="2500" dirty="0" err="1"/>
              <a:t>flags</a:t>
            </a:r>
            <a:endParaRPr lang="de-CH" sz="2500" dirty="0"/>
          </a:p>
          <a:p>
            <a:pPr algn="ctr"/>
            <a:r>
              <a:rPr lang="de-CH" sz="2500" dirty="0"/>
              <a:t>MRI Indikationen</a:t>
            </a:r>
          </a:p>
          <a:p>
            <a:pPr algn="ctr"/>
            <a:r>
              <a:rPr lang="de-CH" sz="2500" dirty="0"/>
              <a:t>wann zum/zur </a:t>
            </a:r>
            <a:r>
              <a:rPr lang="de-CH" sz="2500" dirty="0" err="1"/>
              <a:t>Spezialist:in</a:t>
            </a:r>
            <a:endParaRPr lang="de-CH" sz="2500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68A74B-3303-9987-A2C7-F31E7E44EBC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42C1691B-85F5-7072-12FE-2EF65A60114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-249700" y="2775419"/>
            <a:ext cx="2913388" cy="2915208"/>
          </a:xfrm>
        </p:spPr>
        <p:txBody>
          <a:bodyPr/>
          <a:lstStyle/>
          <a:p>
            <a:pPr algn="ctr"/>
            <a:r>
              <a:rPr lang="de-CH" dirty="0"/>
              <a:t>Matthias Hollatz </a:t>
            </a:r>
            <a:r>
              <a:rPr lang="de-CH" sz="1200" dirty="0"/>
              <a:t>Leitender Arzt Orthopädie/Traumatologie Schwerpunkt Knie         Spital Thun</a:t>
            </a:r>
          </a:p>
        </p:txBody>
      </p:sp>
    </p:spTree>
    <p:extLst>
      <p:ext uri="{BB962C8B-B14F-4D97-AF65-F5344CB8AC3E}">
        <p14:creationId xmlns:p14="http://schemas.microsoft.com/office/powerpoint/2010/main" val="219247887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MPOWERCHARTSPROPERTIES_B_0" val="AAAAAAH//////////wEAAAAAAAAAAAAAACoqIFRoaXMgaXMgYSBMaXRlREIgZmlsZSAqKgcEAP////8FAAAAAQAAAAAAAAAAAAAAAAAAAAAAAAAAAAAAAAAAAAAAAAAAAAAAAAABEQAAAFByb3BlcnR5RG9jdW1lbnRzAg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CAAAAAv//////////AQAAAAAAAAAAAAAAEQAAAFByb3BlcnR5RG9jdW1lbnRzAgAAAAAAAAAFAAAACQAAAF9pZD0kLl9pZAEDAAAAAAADAAAAAQADAAAAIwAAAENvbWJpSW5kZXg9JC5OYW1lICsgJ18nICsgJC5WZXJzaW9uAQQAAAAAAAQAAAABAAQAAAA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P///////wAAAAAAAP////8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gQBAQEBAQEBAQEBAQEBAQIAAAAAAAAAAwAAAAMAAAAA/////wQAMwwAAAAAAAAAAAAAIAD///////////////8AAAD///////////////8DAAAAAwD///////8DAAAAAwD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8BACAA////////////////AAAO////////AwAAAAI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gACAP///////wQAAAACABAACxqIPu253J1Fm2nxRFfh1HIFAAAAAAADAAAAAwADAAAAAQADAAAAAwD///////8DAAIA////////BAAAAAMAEAALja+KdWdCa0uVk4nS7WLJfQUAAAABAAMAAAAAAAMAAAACAAMAAAAAAAMAAAAC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QAAAADAAAAAP////8EAPwLAAAAAAAAAAAAACAB////////////////AAAA////////////////BAAAAAMA////////BAAAAAMA////////BAAAAAMA////////BAAAAAMA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AQAgAf///////////////wAADv///////wQAAAACAP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/wIAAgEDAAAAAgD///////8aAAZMaW5rZWRTaGFwZXNEYXRhUHJvcGVydHlfMAUAAAAAAAQAAAADAAQAAAABAAQAAAADAP///////wMABAEDAAAAAwD///////8lAAZMaW5rZWRTaGFwZVByZXNlbnRhdGlvblNldHRpbmdzRGF0YV8wBQAAAAEABAAAAAAABAAAAAIABAAAAAAABAAAAAIABAAAAAAA////////BAAAAAAA////////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FAAAABAAAAAD/////AgC3DgAAAAAAAAAAAAD/////gwCDAAAABV9pZAAQAAAABBqIPu253J1Fm2nxRFfh1HIDRGF0YQAbAAAABExpbmtlZFNoYXBlRGF0YQAFAAAAAAACTmFtZQAZAAAATGlua2VkU2hhcGVzRGF0YVByb3BlcnR5ABBWZXJzaW9uAAAAAAAJTGFzdFdyaXRlALt3WKd7AQAAAAEA/////50AnQAAAAVfaWQAEAAAAASNr4p1Z0JrS5WTidLtYsl9A0RhdGEAKgAAAAhQcmVzZW50YXRpb25TY2FubmVkRm9yTGlua2VkU2hhcGVzAAEAAk5hbWUAJAAAAExpbmtlZFNoYXBlUHJlc2VudGF0aW9uU2V0dGluZ3NEYXRhABBWZXJzaW9uAAAAAAAJTGFzdFdyaXRlAOV3WKd7AQ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A"/>
  <p:tag name="EMPOWERCHARTSPROPERTIES_SLOT" val="B"/>
  <p:tag name="EMPOWERCHARTSPROPERTIES_B_LENGTH" val="24576"/>
</p:tagLst>
</file>

<file path=ppt/theme/theme1.xml><?xml version="1.0" encoding="utf-8"?>
<a:theme xmlns:a="http://schemas.openxmlformats.org/drawingml/2006/main" name="Spital STS">
  <a:themeElements>
    <a:clrScheme name="SpitalSTS">
      <a:dk1>
        <a:sysClr val="windowText" lastClr="000000"/>
      </a:dk1>
      <a:lt1>
        <a:sysClr val="window" lastClr="FFFFFF"/>
      </a:lt1>
      <a:dk2>
        <a:srgbClr val="004587"/>
      </a:dk2>
      <a:lt2>
        <a:srgbClr val="F4FAFF"/>
      </a:lt2>
      <a:accent1>
        <a:srgbClr val="004587"/>
      </a:accent1>
      <a:accent2>
        <a:srgbClr val="FFCC00"/>
      </a:accent2>
      <a:accent3>
        <a:srgbClr val="B6D4F1"/>
      </a:accent3>
      <a:accent4>
        <a:srgbClr val="DEE9F4"/>
      </a:accent4>
      <a:accent5>
        <a:srgbClr val="F4FAFF"/>
      </a:accent5>
      <a:accent6>
        <a:srgbClr val="D0011B"/>
      </a:accent6>
      <a:hlink>
        <a:srgbClr val="004587"/>
      </a:hlink>
      <a:folHlink>
        <a:srgbClr val="D0011B"/>
      </a:folHlink>
    </a:clrScheme>
    <a:fontScheme name="SpitalSTS">
      <a:majorFont>
        <a:latin typeface="Akkurat"/>
        <a:ea typeface=""/>
        <a:cs typeface=""/>
      </a:majorFont>
      <a:minorFont>
        <a:latin typeface="Akkura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VorlageSTSAG.potx [Schreibgeschützt]" id="{C0FD1038-EDAE-47DE-8302-129197195537}" vid="{D63C3CDB-70F7-4E86-B951-0FCF17C2F29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49535f356c842d09ea7c90bc22dad14 xmlns="84c6b7c3-d60c-4fbf-a8f9-bf8edac5f8eb">
      <Terms xmlns="http://schemas.microsoft.com/office/infopath/2007/PartnerControls"/>
    </d49535f356c842d09ea7c90bc22dad14>
    <TaxCatchAll xmlns="84c6b7c3-d60c-4fbf-a8f9-bf8edac5f8eb">
      <Value>11</Value>
      <Value>14</Value>
    </TaxCatchAll>
    <id81c405444f4da5b05e5f3adbd54f14 xmlns="84c6b7c3-d60c-4fbf-a8f9-bf8edac5f8eb">
      <Terms xmlns="http://schemas.microsoft.com/office/infopath/2007/PartnerControls">
        <TermInfo xmlns="http://schemas.microsoft.com/office/infopath/2007/PartnerControls">
          <TermName xmlns="http://schemas.microsoft.com/office/infopath/2007/PartnerControls">Kommunikation und GL-Sekretariat</TermName>
          <TermId xmlns="http://schemas.microsoft.com/office/infopath/2007/PartnerControls">0b234563-e027-4ec4-a8f1-6777f24dfb10</TermId>
        </TermInfo>
      </Terms>
    </id81c405444f4da5b05e5f3adbd54f14>
    <da469703a3f04e81b22a4e0b204b62b7 xmlns="84c6b7c3-d60c-4fbf-a8f9-bf8edac5f8eb">
      <Terms xmlns="http://schemas.microsoft.com/office/infopath/2007/PartnerControls">
        <TermInfo xmlns="http://schemas.microsoft.com/office/infopath/2007/PartnerControls">
          <TermName xmlns="http://schemas.microsoft.com/office/infopath/2007/PartnerControls">Vorlage</TermName>
          <TermId xmlns="http://schemas.microsoft.com/office/infopath/2007/PartnerControls">e9e5e6d1-9e16-4cd3-8c9a-60083ee1a016</TermId>
        </TermInfo>
      </Terms>
    </da469703a3f04e81b22a4e0b204b62b7>
    <aa35ba3179a44ea692a37f8e0f5f06cb xmlns="84c6b7c3-d60c-4fbf-a8f9-bf8edac5f8eb">
      <Terms xmlns="http://schemas.microsoft.com/office/infopath/2007/PartnerControls"/>
    </aa35ba3179a44ea692a37f8e0f5f06cb>
  </documentManagement>
</p:properties>
</file>

<file path=customXml/item2.xml><?xml version="1.0" encoding="utf-8"?>
<?mso-contentType ?>
<SharedContentType xmlns="Microsoft.SharePoint.Taxonomy.ContentTypeSync" SourceId="3dc90f79-5c8c-450c-b533-74b79f0a69af" ContentTypeId="0x01010064FDAA315AA52E4CB8CE4041EDECE465" PreviousValue="false"/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STS Dokument" ma:contentTypeID="0x01010064FDAA315AA52E4CB8CE4041EDECE46500718205A49B02264C882A30551C731935" ma:contentTypeVersion="4" ma:contentTypeDescription="" ma:contentTypeScope="" ma:versionID="a5784c1cd17029fc00f0b0781ea6b99d">
  <xsd:schema xmlns:xsd="http://www.w3.org/2001/XMLSchema" xmlns:xs="http://www.w3.org/2001/XMLSchema" xmlns:p="http://schemas.microsoft.com/office/2006/metadata/properties" xmlns:ns2="84c6b7c3-d60c-4fbf-a8f9-bf8edac5f8eb" targetNamespace="http://schemas.microsoft.com/office/2006/metadata/properties" ma:root="true" ma:fieldsID="6aeec4c2b984c7367aabb369579fe8e3" ns2:_="">
    <xsd:import namespace="84c6b7c3-d60c-4fbf-a8f9-bf8edac5f8eb"/>
    <xsd:element name="properties">
      <xsd:complexType>
        <xsd:sequence>
          <xsd:element name="documentManagement">
            <xsd:complexType>
              <xsd:all>
                <xsd:element ref="ns2:da469703a3f04e81b22a4e0b204b62b7" minOccurs="0"/>
                <xsd:element ref="ns2:TaxCatchAll" minOccurs="0"/>
                <xsd:element ref="ns2:TaxCatchAllLabel" minOccurs="0"/>
                <xsd:element ref="ns2:id81c405444f4da5b05e5f3adbd54f14" minOccurs="0"/>
                <xsd:element ref="ns2:d49535f356c842d09ea7c90bc22dad14" minOccurs="0"/>
                <xsd:element ref="ns2:aa35ba3179a44ea692a37f8e0f5f06cb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4c6b7c3-d60c-4fbf-a8f9-bf8edac5f8eb" elementFormDefault="qualified">
    <xsd:import namespace="http://schemas.microsoft.com/office/2006/documentManagement/types"/>
    <xsd:import namespace="http://schemas.microsoft.com/office/infopath/2007/PartnerControls"/>
    <xsd:element name="da469703a3f04e81b22a4e0b204b62b7" ma:index="8" nillable="true" ma:taxonomy="true" ma:internalName="da469703a3f04e81b22a4e0b204b62b7" ma:taxonomyFieldName="Informationsbezogen" ma:displayName="Informationsbezogen" ma:default="" ma:fieldId="{da469703-a3f0-4e81-b22a-4e0b204b62b7}" ma:taxonomyMulti="true" ma:sspId="3dc90f79-5c8c-450c-b533-74b79f0a69af" ma:termSetId="b433eb2f-e3b8-488c-b874-64fe277af910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9" nillable="true" ma:displayName="Taxonomy Catch All Column" ma:hidden="true" ma:list="{782a0446-51b5-47a8-8c6a-03ae2fe68bf5}" ma:internalName="TaxCatchAll" ma:showField="CatchAllData" ma:web="ad384076-f4ef-471e-94ab-c7c1868ffb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0" nillable="true" ma:displayName="Taxonomy Catch All Column1" ma:hidden="true" ma:list="{782a0446-51b5-47a8-8c6a-03ae2fe68bf5}" ma:internalName="TaxCatchAllLabel" ma:readOnly="true" ma:showField="CatchAllDataLabel" ma:web="ad384076-f4ef-471e-94ab-c7c1868ffb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id81c405444f4da5b05e5f3adbd54f14" ma:index="12" nillable="true" ma:taxonomy="true" ma:internalName="id81c405444f4da5b05e5f3adbd54f14" ma:taxonomyFieldName="Organisationsbezogen" ma:displayName="Organisationsbezogen" ma:default="" ma:fieldId="{2d81c405-444f-4da5-b05e-5f3adbd54f14}" ma:taxonomyMulti="true" ma:sspId="3dc90f79-5c8c-450c-b533-74b79f0a69af" ma:termSetId="94b24c1f-9732-4443-82cc-e9d74987c33a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d49535f356c842d09ea7c90bc22dad14" ma:index="14" nillable="true" ma:taxonomy="true" ma:internalName="d49535f356c842d09ea7c90bc22dad14" ma:taxonomyFieldName="Standortbezogen" ma:displayName="Standortbezogen" ma:default="" ma:fieldId="{d49535f3-56c8-42d0-9ea7-c90bc22dad14}" ma:taxonomyMulti="true" ma:sspId="3dc90f79-5c8c-450c-b533-74b79f0a69af" ma:termSetId="d9434d1f-8687-4c3e-9829-8c19fc4cc878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aa35ba3179a44ea692a37f8e0f5f06cb" ma:index="16" nillable="true" ma:taxonomy="true" ma:internalName="aa35ba3179a44ea692a37f8e0f5f06cb" ma:taxonomyFieldName="Dokumentenstatus" ma:displayName="Dokumentenstatus" ma:default="" ma:fieldId="{aa35ba31-79a4-4ea6-92a3-7f8e0f5f06cb}" ma:sspId="3dc90f79-5c8c-450c-b533-74b79f0a69af" ma:termSetId="545bdcfb-5c88-4d37-9581-9b3d3eb818da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685CE57-7756-467F-9F70-047EE503D77C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84c6b7c3-d60c-4fbf-a8f9-bf8edac5f8eb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8B44206-AC30-401C-87D7-7C302B2AFDBD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95ABDB1B-1557-4AD1-8D3C-E1C548B11D50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2C3871C6-CF33-4568-AB3D-6B2E01CC878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4c6b7c3-d60c-4fbf-a8f9-bf8edac5f8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VorlageSTSAG</Template>
  <TotalTime>1</TotalTime>
  <Words>2622</Words>
  <Application>Microsoft Office PowerPoint</Application>
  <PresentationFormat>Grand écran</PresentationFormat>
  <Paragraphs>495</Paragraphs>
  <Slides>36</Slides>
  <Notes>0</Notes>
  <HiddenSlides>0</HiddenSlides>
  <MMClips>0</MMClips>
  <ScaleCrop>false</ScaleCrop>
  <HeadingPairs>
    <vt:vector size="6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Titres des diapositives</vt:lpstr>
      </vt:variant>
      <vt:variant>
        <vt:i4>36</vt:i4>
      </vt:variant>
    </vt:vector>
  </HeadingPairs>
  <TitlesOfParts>
    <vt:vector size="40" baseType="lpstr">
      <vt:lpstr>Akkurat</vt:lpstr>
      <vt:lpstr>Arial</vt:lpstr>
      <vt:lpstr>Calibri</vt:lpstr>
      <vt:lpstr>Spital STS</vt:lpstr>
      <vt:lpstr>Présentation PowerPoint</vt:lpstr>
      <vt:lpstr>Présentation PowerPoint</vt:lpstr>
      <vt:lpstr>Knie – Fall 1</vt:lpstr>
      <vt:lpstr>Knie – Fall 1</vt:lpstr>
      <vt:lpstr>Knie – Fall 1</vt:lpstr>
      <vt:lpstr>Knie – Fall 1</vt:lpstr>
      <vt:lpstr>Knie – Fall 1</vt:lpstr>
      <vt:lpstr>Knie – Take Home Message</vt:lpstr>
      <vt:lpstr>Présentation PowerPoint</vt:lpstr>
      <vt:lpstr>Hüfte – Fall 1</vt:lpstr>
      <vt:lpstr>Hüfte – Fall 1 </vt:lpstr>
      <vt:lpstr>Hüfte – Fall 1 </vt:lpstr>
      <vt:lpstr>Hüfte – Fall 1 </vt:lpstr>
      <vt:lpstr>Hüfte – Take Home Message</vt:lpstr>
      <vt:lpstr>Présentation PowerPoint</vt:lpstr>
      <vt:lpstr>Schulter – Fall 1</vt:lpstr>
      <vt:lpstr>Schulter – Fall 1</vt:lpstr>
      <vt:lpstr>Schulter – Fall 1</vt:lpstr>
      <vt:lpstr>Schulter – Fall 1</vt:lpstr>
      <vt:lpstr>Schulter – Take Home Message</vt:lpstr>
      <vt:lpstr>Knie – Fall 2</vt:lpstr>
      <vt:lpstr>Knie – Fall 2</vt:lpstr>
      <vt:lpstr>Knie – Fall 2</vt:lpstr>
      <vt:lpstr>Knie – Take Home Message</vt:lpstr>
      <vt:lpstr>Hüfte – Fall 2</vt:lpstr>
      <vt:lpstr>Hüfte – Fall 2</vt:lpstr>
      <vt:lpstr>Hüfte – Fall 2</vt:lpstr>
      <vt:lpstr>Hüfte – Take Home Message</vt:lpstr>
      <vt:lpstr>Présentation PowerPoint</vt:lpstr>
      <vt:lpstr>Ellenbogen – Fall 1</vt:lpstr>
      <vt:lpstr>Ellenbogen – Fall 1</vt:lpstr>
      <vt:lpstr>Ellenbogen – Fall 1</vt:lpstr>
      <vt:lpstr>Ellenbogen – Take Home Message</vt:lpstr>
      <vt:lpstr>Présentation PowerPoint</vt:lpstr>
      <vt:lpstr>Hand – Take Home Message</vt:lpstr>
      <vt:lpstr>Présentation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Hollatz Matthias, Dr. med.</dc:creator>
  <cp:lastModifiedBy>Yan Benz</cp:lastModifiedBy>
  <cp:revision>78</cp:revision>
  <dcterms:created xsi:type="dcterms:W3CDTF">2025-04-01T09:48:44Z</dcterms:created>
  <dcterms:modified xsi:type="dcterms:W3CDTF">2025-05-09T13:03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FDAA315AA52E4CB8CE4041EDECE46500718205A49B02264C882A30551C731935</vt:lpwstr>
  </property>
  <property fmtid="{D5CDD505-2E9C-101B-9397-08002B2CF9AE}" pid="3" name="Informationsbezogen">
    <vt:lpwstr>11;#Vorlage|e9e5e6d1-9e16-4cd3-8c9a-60083ee1a016</vt:lpwstr>
  </property>
  <property fmtid="{D5CDD505-2E9C-101B-9397-08002B2CF9AE}" pid="4" name="Organisationsbezogen">
    <vt:lpwstr>14;#Kommunikation und GL-Sekretariat|0b234563-e027-4ec4-a8f1-6777f24dfb10</vt:lpwstr>
  </property>
  <property fmtid="{D5CDD505-2E9C-101B-9397-08002B2CF9AE}" pid="5" name="Dokumentenstatus">
    <vt:lpwstr/>
  </property>
  <property fmtid="{D5CDD505-2E9C-101B-9397-08002B2CF9AE}" pid="6" name="Standortbezogen">
    <vt:lpwstr/>
  </property>
</Properties>
</file>